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34" r:id="rId4"/>
    <p:sldMasterId id="2147483925" r:id="rId5"/>
  </p:sldMasterIdLst>
  <p:notesMasterIdLst>
    <p:notesMasterId r:id="rId7"/>
  </p:notesMasterIdLst>
  <p:handoutMasterIdLst>
    <p:handoutMasterId r:id="rId8"/>
  </p:handoutMasterIdLst>
  <p:sldIdLst>
    <p:sldId id="4242" r:id="rId6"/>
  </p:sldIdLst>
  <p:sldSz cx="12192000" cy="6858000"/>
  <p:notesSz cx="6858000" cy="9144000"/>
  <p:embeddedFontLst>
    <p:embeddedFont>
      <p:font typeface="Arial Narrow" panose="020B0606020202030204" pitchFamily="34" charset="0"/>
      <p:regular r:id="rId9"/>
      <p:bold r:id="rId10"/>
      <p:italic r:id="rId11"/>
      <p:boldItalic r:id="rId12"/>
    </p:embeddedFont>
    <p:embeddedFont>
      <p:font typeface="Gilroy Medium" panose="00000600000000000000" charset="0"/>
      <p:regular r:id="rId13"/>
      <p:bold r:id="rId14"/>
    </p:embeddedFont>
    <p:embeddedFont>
      <p:font typeface="GT Pressura LCG Black" panose="020B0604020202020204" charset="0"/>
      <p:regular r:id="rId15"/>
      <p:bold r:id="rId16"/>
      <p:italic r:id="rId17"/>
      <p:boldItalic r:id="rId18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9264267-E6BC-72A8-016C-D36C03CD6D12}" name="Popowski, Nicole {PEP}" initials="PN{" userId="S::Nicole.Popowski@pepsico.com::61f71d42-331a-4ab7-9267-9fbf44eaf944" providerId="AD"/>
  <p188:author id="{57913871-DD69-0834-E5D3-07E0AE26C2B1}" name="Romano, Kelly {PEP}" initials="RK{" userId="S::Kelly.Romano@pepsico.com::d149f040-ccb0-4f54-a04e-732116e0ac40" providerId="AD"/>
  <p188:author id="{6B89F973-028C-BFDA-10D1-1F88A841357F}" name="Dominguez, Manuel {PEP}" initials="DM" userId="S::manuel.dominguez@pepsico.com::bbdbb548-75d2-4851-9814-27ae57cc6700" providerId="AD"/>
  <p188:author id="{C64DD88C-2E9A-E3ED-86B5-7D4C0461A7B2}" name="Masella, Elise {PEP}" initials="ME{" userId="S::Elise.Masella@pepsico.com::82f825f7-1737-422f-880c-fad5fcd4cfd4" providerId="AD"/>
  <p188:author id="{095F5DC6-5918-7F14-0D5A-16F4B2EFE275}" name="Dominguez, Manuel {PEP}" initials="" userId="S::Manuel.Dominguez@pepsico.com::bbdbb548-75d2-4851-9814-27ae57cc6700" providerId="AD"/>
  <p188:author id="{E7923AC8-8D47-E292-0395-8AC09EE152C0}" name="Cutler, Ian {PEP}" initials="CI" userId="S::ian.cutler@pepsico.com::85e2cef1-672a-4989-87a8-a96e9b4c5d6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rah Ferniz" initials="SF" lastIdx="13" clrIdx="0">
    <p:extLst>
      <p:ext uri="{19B8F6BF-5375-455C-9EA6-DF929625EA0E}">
        <p15:presenceInfo xmlns:p15="http://schemas.microsoft.com/office/powerpoint/2012/main" userId="Sarah Ferni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80CE"/>
    <a:srgbClr val="71A9E3"/>
    <a:srgbClr val="145798"/>
    <a:srgbClr val="954F07"/>
    <a:srgbClr val="C87307"/>
    <a:srgbClr val="71A8E3"/>
    <a:srgbClr val="EC9F0B"/>
    <a:srgbClr val="8DBF28"/>
    <a:srgbClr val="0F440D"/>
    <a:srgbClr val="5D91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582" autoAdjust="0"/>
  </p:normalViewPr>
  <p:slideViewPr>
    <p:cSldViewPr snapToGrid="0">
      <p:cViewPr varScale="1">
        <p:scale>
          <a:sx n="76" d="100"/>
          <a:sy n="76" d="100"/>
        </p:scale>
        <p:origin x="272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" Type="http://schemas.openxmlformats.org/officeDocument/2006/relationships/customXml" Target="../customXml/item2.xml"/><Relationship Id="rId16" Type="http://schemas.openxmlformats.org/officeDocument/2006/relationships/font" Target="fonts/font8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font" Target="fonts/font3.fntdata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7.fntdata"/><Relationship Id="rId23" Type="http://schemas.openxmlformats.org/officeDocument/2006/relationships/tableStyles" Target="tableStyles.xml"/><Relationship Id="rId10" Type="http://schemas.openxmlformats.org/officeDocument/2006/relationships/font" Target="fonts/font2.fntdata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6D55C4-E52F-4810-9BEF-96FA1E00A5BB}" type="datetimeFigureOut">
              <a:rPr lang="en-US" smtClean="0">
                <a:latin typeface="Gilroy Medium" panose="00000600000000000000" pitchFamily="50" charset="0"/>
              </a:rPr>
              <a:t>4/8/2026</a:t>
            </a:fld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AB3237-2851-4DC9-9865-7658E90A74CA}" type="slidenum">
              <a:rPr lang="en-US" smtClean="0">
                <a:latin typeface="Gilroy Medium" panose="00000600000000000000" pitchFamily="50" charset="0"/>
              </a:rPr>
              <a:t>‹#›</a:t>
            </a:fld>
            <a:endParaRPr lang="en-US">
              <a:latin typeface="Gilroy 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147730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ilroy Medium" panose="00000600000000000000" pitchFamily="50" charset="0"/>
              </a:defRPr>
            </a:lvl1pPr>
          </a:lstStyle>
          <a:p>
            <a:fld id="{C619B3CA-2D0D-47C2-ADCA-6F431D6ECA53}" type="datetimeFigureOut">
              <a:rPr lang="en-US" smtClean="0"/>
              <a:pPr/>
              <a:t>4/8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ilroy Medium" panose="00000600000000000000" pitchFamily="50" charset="0"/>
              </a:defRPr>
            </a:lvl1pPr>
          </a:lstStyle>
          <a:p>
            <a:fld id="{CD834DAD-DF98-44E2-A25C-0E8DEB5DEE3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0331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Only leverage the slides in this deck that best meet your customer opportunitie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834DAD-DF98-44E2-A25C-0E8DEB5DEE3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2427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rgbClr val="3680CE"/>
                </a:solidFill>
                <a:latin typeface="+mj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937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3680CE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C9AAB4-21F4-5296-DEEF-3F651D416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937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rgbClr val="3680CE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857952C-1F35-BE8C-235D-90ABB616A7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27372" y="6256303"/>
            <a:ext cx="1159828" cy="355049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7DD9F570-FB4F-C345-DC5E-3F1E36A8D366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6643C4B-1061-5643-92AE-335DE67AD4E4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375566B-2CF3-DFD9-0534-ACC2BA0CD41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0C031CB-0C25-D8B2-C1CA-D70E2A6A51A6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9204C0-EF3F-E958-0B29-1CB71300DD1A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B88C8C0-6282-CD44-8D33-B5812D25C733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7DF1788-CF3B-2B80-3AD8-CEA2C013D8D6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6C11F0A-80ED-7CB9-636B-0DBF8D94ABAC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97312EB-6711-98A8-3BCA-E3516BA5F14C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21FE7A6-1F45-7A4E-C696-027A426FD44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66E8573-C2EA-80A0-8624-77DC083A154F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B6028CD-A9DF-0900-CAD7-43163AC9E713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9F2C829-14B6-78BD-F509-33C67B3F34E6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BAD7F2B-DC00-EC52-BDC4-273C257F79F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FBF61CC-E3F3-1A75-B07B-7C642E831F9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7497641-45B1-BE9B-19F6-73896FD4C602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D20C0355-79E3-6757-F758-25ECB1526D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E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3961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-3829" y="4004441"/>
            <a:ext cx="12195829" cy="2853560"/>
          </a:xfrm>
          <a:prstGeom prst="rect">
            <a:avLst/>
          </a:prstGeom>
          <a:solidFill>
            <a:srgbClr val="3680CE">
              <a:alpha val="9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9A36B2D-C4B4-09E1-30A3-7DEE0B7D88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F8C2028F-B052-CFFA-DE15-DA4E13A615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56FAC1-BD3B-4A39-AEB8-8B734D184E9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365761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0" y="4004440"/>
            <a:ext cx="12195829" cy="2853560"/>
          </a:xfrm>
          <a:prstGeom prst="rect">
            <a:avLst/>
          </a:prstGeom>
          <a:solidFill>
            <a:srgbClr val="EC9F0B">
              <a:alpha val="9882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9F1A0E6E-809F-CAB8-ADF7-401A2493B1B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937293B6-CB6D-C378-7EF0-4F4D7D08544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A8223AB-CFD2-1D96-874F-CF2C8B358935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03203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0" y="4004440"/>
            <a:ext cx="12195829" cy="2853560"/>
          </a:xfrm>
          <a:prstGeom prst="rect">
            <a:avLst/>
          </a:prstGeom>
          <a:solidFill>
            <a:srgbClr val="5D910D">
              <a:alpha val="9882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9DF5B2C0-2DAF-22FD-0941-C1BABC3CC9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76815E2D-A38A-A593-60AB-494622D2E5C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E29C9E-C5B3-BE30-C585-F6537223A80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7499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89039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admap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57912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57912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D56BE54F-ABA7-87C3-DDEC-8CC14C3BB9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7799" y="1219200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20">
            <a:extLst>
              <a:ext uri="{FF2B5EF4-FFF2-40B4-BE49-F238E27FC236}">
                <a16:creationId xmlns:a16="http://schemas.microsoft.com/office/drawing/2014/main" id="{69F201B2-0E15-895F-F5D3-04F06E37DE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7799" y="2531953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462DB5CE-E172-93EF-0E0A-B48D937BCE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27799" y="3844706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183A6671-C3D1-2881-2875-99B538AF84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27799" y="5157458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92EDD37B-1022-E8C0-7621-72C0112B8D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4800" y="1219200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5F925C44-2E51-AEBC-C500-516E0F1CACC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2531953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6F8C1F53-B006-62F5-3475-E642FAB8F39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4800" y="3844706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697916BA-3095-BE46-A2C3-DCD32EE34A8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04800" y="5157458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reeform 2">
            <a:extLst>
              <a:ext uri="{FF2B5EF4-FFF2-40B4-BE49-F238E27FC236}">
                <a16:creationId xmlns:a16="http://schemas.microsoft.com/office/drawing/2014/main" id="{6BD22F14-1CC1-583A-F08B-CB8A46EA669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49802" y="983"/>
            <a:ext cx="5446923" cy="6856035"/>
          </a:xfrm>
          <a:custGeom>
            <a:avLst/>
            <a:gdLst>
              <a:gd name="T0" fmla="*/ 8744 w 8745"/>
              <a:gd name="T1" fmla="*/ 11007 h 11008"/>
              <a:gd name="T2" fmla="*/ 7828 w 8745"/>
              <a:gd name="T3" fmla="*/ 11007 h 11008"/>
              <a:gd name="T4" fmla="*/ 7828 w 8745"/>
              <a:gd name="T5" fmla="*/ 8903 h 11008"/>
              <a:gd name="T6" fmla="*/ 7828 w 8745"/>
              <a:gd name="T7" fmla="*/ 8903 h 11008"/>
              <a:gd name="T8" fmla="*/ 7490 w 8745"/>
              <a:gd name="T9" fmla="*/ 8564 h 11008"/>
              <a:gd name="T10" fmla="*/ 5578 w 8745"/>
              <a:gd name="T11" fmla="*/ 8564 h 11008"/>
              <a:gd name="T12" fmla="*/ 5578 w 8745"/>
              <a:gd name="T13" fmla="*/ 8564 h 11008"/>
              <a:gd name="T14" fmla="*/ 4322 w 8745"/>
              <a:gd name="T15" fmla="*/ 7309 h 11008"/>
              <a:gd name="T16" fmla="*/ 4322 w 8745"/>
              <a:gd name="T17" fmla="*/ 5901 h 11008"/>
              <a:gd name="T18" fmla="*/ 4322 w 8745"/>
              <a:gd name="T19" fmla="*/ 5901 h 11008"/>
              <a:gd name="T20" fmla="*/ 3984 w 8745"/>
              <a:gd name="T21" fmla="*/ 5562 h 11008"/>
              <a:gd name="T22" fmla="*/ 1256 w 8745"/>
              <a:gd name="T23" fmla="*/ 5562 h 11008"/>
              <a:gd name="T24" fmla="*/ 1256 w 8745"/>
              <a:gd name="T25" fmla="*/ 5562 h 11008"/>
              <a:gd name="T26" fmla="*/ 0 w 8745"/>
              <a:gd name="T27" fmla="*/ 4307 h 11008"/>
              <a:gd name="T28" fmla="*/ 0 w 8745"/>
              <a:gd name="T29" fmla="*/ 0 h 11008"/>
              <a:gd name="T30" fmla="*/ 917 w 8745"/>
              <a:gd name="T31" fmla="*/ 0 h 11008"/>
              <a:gd name="T32" fmla="*/ 917 w 8745"/>
              <a:gd name="T33" fmla="*/ 4307 h 11008"/>
              <a:gd name="T34" fmla="*/ 917 w 8745"/>
              <a:gd name="T35" fmla="*/ 4307 h 11008"/>
              <a:gd name="T36" fmla="*/ 1256 w 8745"/>
              <a:gd name="T37" fmla="*/ 4645 h 11008"/>
              <a:gd name="T38" fmla="*/ 3984 w 8745"/>
              <a:gd name="T39" fmla="*/ 4645 h 11008"/>
              <a:gd name="T40" fmla="*/ 3984 w 8745"/>
              <a:gd name="T41" fmla="*/ 4645 h 11008"/>
              <a:gd name="T42" fmla="*/ 5239 w 8745"/>
              <a:gd name="T43" fmla="*/ 5901 h 11008"/>
              <a:gd name="T44" fmla="*/ 5239 w 8745"/>
              <a:gd name="T45" fmla="*/ 7309 h 11008"/>
              <a:gd name="T46" fmla="*/ 5239 w 8745"/>
              <a:gd name="T47" fmla="*/ 7309 h 11008"/>
              <a:gd name="T48" fmla="*/ 5578 w 8745"/>
              <a:gd name="T49" fmla="*/ 7647 h 11008"/>
              <a:gd name="T50" fmla="*/ 7490 w 8745"/>
              <a:gd name="T51" fmla="*/ 7647 h 11008"/>
              <a:gd name="T52" fmla="*/ 7490 w 8745"/>
              <a:gd name="T53" fmla="*/ 7647 h 11008"/>
              <a:gd name="T54" fmla="*/ 8744 w 8745"/>
              <a:gd name="T55" fmla="*/ 8903 h 11008"/>
              <a:gd name="T56" fmla="*/ 8744 w 8745"/>
              <a:gd name="T57" fmla="*/ 11007 h 11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745" h="11008">
                <a:moveTo>
                  <a:pt x="8744" y="11007"/>
                </a:moveTo>
                <a:lnTo>
                  <a:pt x="7828" y="11007"/>
                </a:lnTo>
                <a:lnTo>
                  <a:pt x="7828" y="8903"/>
                </a:lnTo>
                <a:lnTo>
                  <a:pt x="7828" y="8903"/>
                </a:lnTo>
                <a:cubicBezTo>
                  <a:pt x="7828" y="8716"/>
                  <a:pt x="7676" y="8564"/>
                  <a:pt x="7490" y="8564"/>
                </a:cubicBezTo>
                <a:lnTo>
                  <a:pt x="5578" y="8564"/>
                </a:lnTo>
                <a:lnTo>
                  <a:pt x="5578" y="8564"/>
                </a:lnTo>
                <a:cubicBezTo>
                  <a:pt x="4885" y="8564"/>
                  <a:pt x="4322" y="8001"/>
                  <a:pt x="4322" y="7309"/>
                </a:cubicBezTo>
                <a:lnTo>
                  <a:pt x="4322" y="5901"/>
                </a:lnTo>
                <a:lnTo>
                  <a:pt x="4322" y="5901"/>
                </a:lnTo>
                <a:cubicBezTo>
                  <a:pt x="4322" y="5714"/>
                  <a:pt x="4170" y="5562"/>
                  <a:pt x="3984" y="5562"/>
                </a:cubicBezTo>
                <a:lnTo>
                  <a:pt x="1256" y="5562"/>
                </a:lnTo>
                <a:lnTo>
                  <a:pt x="1256" y="5562"/>
                </a:lnTo>
                <a:cubicBezTo>
                  <a:pt x="563" y="5562"/>
                  <a:pt x="0" y="5000"/>
                  <a:pt x="0" y="4307"/>
                </a:cubicBezTo>
                <a:lnTo>
                  <a:pt x="0" y="0"/>
                </a:lnTo>
                <a:lnTo>
                  <a:pt x="917" y="0"/>
                </a:lnTo>
                <a:lnTo>
                  <a:pt x="917" y="4307"/>
                </a:lnTo>
                <a:lnTo>
                  <a:pt x="917" y="4307"/>
                </a:lnTo>
                <a:cubicBezTo>
                  <a:pt x="917" y="4494"/>
                  <a:pt x="1069" y="4645"/>
                  <a:pt x="1256" y="4645"/>
                </a:cubicBezTo>
                <a:lnTo>
                  <a:pt x="3984" y="4645"/>
                </a:lnTo>
                <a:lnTo>
                  <a:pt x="3984" y="4645"/>
                </a:lnTo>
                <a:cubicBezTo>
                  <a:pt x="4676" y="4645"/>
                  <a:pt x="5239" y="5209"/>
                  <a:pt x="5239" y="5901"/>
                </a:cubicBezTo>
                <a:lnTo>
                  <a:pt x="5239" y="7309"/>
                </a:lnTo>
                <a:lnTo>
                  <a:pt x="5239" y="7309"/>
                </a:lnTo>
                <a:cubicBezTo>
                  <a:pt x="5239" y="7495"/>
                  <a:pt x="5391" y="7647"/>
                  <a:pt x="5578" y="7647"/>
                </a:cubicBezTo>
                <a:lnTo>
                  <a:pt x="7490" y="7647"/>
                </a:lnTo>
                <a:lnTo>
                  <a:pt x="7490" y="7647"/>
                </a:lnTo>
                <a:cubicBezTo>
                  <a:pt x="8181" y="7647"/>
                  <a:pt x="8744" y="8211"/>
                  <a:pt x="8744" y="8903"/>
                </a:cubicBezTo>
                <a:lnTo>
                  <a:pt x="8744" y="11007"/>
                </a:lnTo>
              </a:path>
            </a:pathLst>
          </a:custGeom>
          <a:solidFill>
            <a:srgbClr val="71A8E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Gilroy Medium" panose="00000600000000000000" pitchFamily="50" charset="0"/>
            </a:endParaRPr>
          </a:p>
        </p:txBody>
      </p:sp>
      <p:sp>
        <p:nvSpPr>
          <p:cNvPr id="15" name="Freeform 3">
            <a:extLst>
              <a:ext uri="{FF2B5EF4-FFF2-40B4-BE49-F238E27FC236}">
                <a16:creationId xmlns:a16="http://schemas.microsoft.com/office/drawing/2014/main" id="{C2AC23DE-BDCF-7B12-B239-81D6A0D521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703881" y="983"/>
            <a:ext cx="4938764" cy="6856035"/>
          </a:xfrm>
          <a:custGeom>
            <a:avLst/>
            <a:gdLst>
              <a:gd name="T0" fmla="*/ 0 w 7930"/>
              <a:gd name="T1" fmla="*/ 714 h 11008"/>
              <a:gd name="T2" fmla="*/ 102 w 7930"/>
              <a:gd name="T3" fmla="*/ 0 h 11008"/>
              <a:gd name="T4" fmla="*/ 102 w 7930"/>
              <a:gd name="T5" fmla="*/ 2140 h 11008"/>
              <a:gd name="T6" fmla="*/ 0 w 7930"/>
              <a:gd name="T7" fmla="*/ 1427 h 11008"/>
              <a:gd name="T8" fmla="*/ 102 w 7930"/>
              <a:gd name="T9" fmla="*/ 2140 h 11008"/>
              <a:gd name="T10" fmla="*/ 0 w 7930"/>
              <a:gd name="T11" fmla="*/ 3567 h 11008"/>
              <a:gd name="T12" fmla="*/ 102 w 7930"/>
              <a:gd name="T13" fmla="*/ 2854 h 11008"/>
              <a:gd name="T14" fmla="*/ 296 w 7930"/>
              <a:gd name="T15" fmla="*/ 4951 h 11008"/>
              <a:gd name="T16" fmla="*/ 0 w 7930"/>
              <a:gd name="T17" fmla="*/ 4307 h 11008"/>
              <a:gd name="T18" fmla="*/ 102 w 7930"/>
              <a:gd name="T19" fmla="*/ 4281 h 11008"/>
              <a:gd name="T20" fmla="*/ 102 w 7930"/>
              <a:gd name="T21" fmla="*/ 4307 h 11008"/>
              <a:gd name="T22" fmla="*/ 296 w 7930"/>
              <a:gd name="T23" fmla="*/ 4951 h 11008"/>
              <a:gd name="T24" fmla="*/ 996 w 7930"/>
              <a:gd name="T25" fmla="*/ 5156 h 11008"/>
              <a:gd name="T26" fmla="*/ 1709 w 7930"/>
              <a:gd name="T27" fmla="*/ 5053 h 11008"/>
              <a:gd name="T28" fmla="*/ 3137 w 7930"/>
              <a:gd name="T29" fmla="*/ 5156 h 11008"/>
              <a:gd name="T30" fmla="*/ 2423 w 7930"/>
              <a:gd name="T31" fmla="*/ 5053 h 11008"/>
              <a:gd name="T32" fmla="*/ 3137 w 7930"/>
              <a:gd name="T33" fmla="*/ 5156 h 11008"/>
              <a:gd name="T34" fmla="*/ 4282 w 7930"/>
              <a:gd name="T35" fmla="*/ 5657 h 11008"/>
              <a:gd name="T36" fmla="*/ 3862 w 7930"/>
              <a:gd name="T37" fmla="*/ 5103 h 11008"/>
              <a:gd name="T38" fmla="*/ 4378 w 7930"/>
              <a:gd name="T39" fmla="*/ 5624 h 11008"/>
              <a:gd name="T40" fmla="*/ 4423 w 7930"/>
              <a:gd name="T41" fmla="*/ 7063 h 11008"/>
              <a:gd name="T42" fmla="*/ 4322 w 7930"/>
              <a:gd name="T43" fmla="*/ 6350 h 11008"/>
              <a:gd name="T44" fmla="*/ 4423 w 7930"/>
              <a:gd name="T45" fmla="*/ 7063 h 11008"/>
              <a:gd name="T46" fmla="*/ 5094 w 7930"/>
              <a:gd name="T47" fmla="*/ 8154 h 11008"/>
              <a:gd name="T48" fmla="*/ 4548 w 7930"/>
              <a:gd name="T49" fmla="*/ 7722 h 11008"/>
              <a:gd name="T50" fmla="*/ 5103 w 7930"/>
              <a:gd name="T51" fmla="*/ 8052 h 11008"/>
              <a:gd name="T52" fmla="*/ 6525 w 7930"/>
              <a:gd name="T53" fmla="*/ 8156 h 11008"/>
              <a:gd name="T54" fmla="*/ 5812 w 7930"/>
              <a:gd name="T55" fmla="*/ 8054 h 11008"/>
              <a:gd name="T56" fmla="*/ 6525 w 7930"/>
              <a:gd name="T57" fmla="*/ 8156 h 11008"/>
              <a:gd name="T58" fmla="*/ 7743 w 7930"/>
              <a:gd name="T59" fmla="*/ 8558 h 11008"/>
              <a:gd name="T60" fmla="*/ 7248 w 7930"/>
              <a:gd name="T61" fmla="*/ 8071 h 11008"/>
              <a:gd name="T62" fmla="*/ 7834 w 7930"/>
              <a:gd name="T63" fmla="*/ 8511 h 11008"/>
              <a:gd name="T64" fmla="*/ 7929 w 7930"/>
              <a:gd name="T65" fmla="*/ 9947 h 11008"/>
              <a:gd name="T66" fmla="*/ 7827 w 7930"/>
              <a:gd name="T67" fmla="*/ 9234 h 11008"/>
              <a:gd name="T68" fmla="*/ 7929 w 7930"/>
              <a:gd name="T69" fmla="*/ 9947 h 11008"/>
              <a:gd name="T70" fmla="*/ 7827 w 7930"/>
              <a:gd name="T71" fmla="*/ 11007 h 11008"/>
              <a:gd name="T72" fmla="*/ 7929 w 7930"/>
              <a:gd name="T73" fmla="*/ 10661 h 11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7930" h="11008">
                <a:moveTo>
                  <a:pt x="102" y="714"/>
                </a:moveTo>
                <a:lnTo>
                  <a:pt x="0" y="714"/>
                </a:lnTo>
                <a:lnTo>
                  <a:pt x="0" y="0"/>
                </a:lnTo>
                <a:lnTo>
                  <a:pt x="102" y="0"/>
                </a:lnTo>
                <a:lnTo>
                  <a:pt x="102" y="714"/>
                </a:lnTo>
                <a:close/>
                <a:moveTo>
                  <a:pt x="102" y="2140"/>
                </a:moveTo>
                <a:lnTo>
                  <a:pt x="0" y="2140"/>
                </a:lnTo>
                <a:lnTo>
                  <a:pt x="0" y="1427"/>
                </a:lnTo>
                <a:lnTo>
                  <a:pt x="102" y="1427"/>
                </a:lnTo>
                <a:lnTo>
                  <a:pt x="102" y="2140"/>
                </a:lnTo>
                <a:close/>
                <a:moveTo>
                  <a:pt x="102" y="3567"/>
                </a:moveTo>
                <a:lnTo>
                  <a:pt x="0" y="3567"/>
                </a:lnTo>
                <a:lnTo>
                  <a:pt x="0" y="2854"/>
                </a:lnTo>
                <a:lnTo>
                  <a:pt x="102" y="2854"/>
                </a:lnTo>
                <a:lnTo>
                  <a:pt x="102" y="3567"/>
                </a:lnTo>
                <a:close/>
                <a:moveTo>
                  <a:pt x="296" y="4951"/>
                </a:moveTo>
                <a:lnTo>
                  <a:pt x="296" y="4951"/>
                </a:lnTo>
                <a:cubicBezTo>
                  <a:pt x="108" y="4790"/>
                  <a:pt x="0" y="4555"/>
                  <a:pt x="0" y="4307"/>
                </a:cubicBezTo>
                <a:lnTo>
                  <a:pt x="0" y="4281"/>
                </a:lnTo>
                <a:lnTo>
                  <a:pt x="102" y="4281"/>
                </a:lnTo>
                <a:lnTo>
                  <a:pt x="102" y="4307"/>
                </a:lnTo>
                <a:lnTo>
                  <a:pt x="102" y="4307"/>
                </a:lnTo>
                <a:cubicBezTo>
                  <a:pt x="102" y="4525"/>
                  <a:pt x="197" y="4732"/>
                  <a:pt x="362" y="4874"/>
                </a:cubicBezTo>
                <a:lnTo>
                  <a:pt x="296" y="4951"/>
                </a:lnTo>
                <a:close/>
                <a:moveTo>
                  <a:pt x="1709" y="5156"/>
                </a:moveTo>
                <a:lnTo>
                  <a:pt x="996" y="5156"/>
                </a:lnTo>
                <a:lnTo>
                  <a:pt x="996" y="5053"/>
                </a:lnTo>
                <a:lnTo>
                  <a:pt x="1709" y="5053"/>
                </a:lnTo>
                <a:lnTo>
                  <a:pt x="1709" y="5156"/>
                </a:lnTo>
                <a:close/>
                <a:moveTo>
                  <a:pt x="3137" y="5156"/>
                </a:moveTo>
                <a:lnTo>
                  <a:pt x="2423" y="5156"/>
                </a:lnTo>
                <a:lnTo>
                  <a:pt x="2423" y="5053"/>
                </a:lnTo>
                <a:lnTo>
                  <a:pt x="3137" y="5053"/>
                </a:lnTo>
                <a:lnTo>
                  <a:pt x="3137" y="5156"/>
                </a:lnTo>
                <a:close/>
                <a:moveTo>
                  <a:pt x="4282" y="5657"/>
                </a:moveTo>
                <a:lnTo>
                  <a:pt x="4282" y="5657"/>
                </a:lnTo>
                <a:cubicBezTo>
                  <a:pt x="4208" y="5447"/>
                  <a:pt x="4039" y="5275"/>
                  <a:pt x="3827" y="5199"/>
                </a:cubicBezTo>
                <a:lnTo>
                  <a:pt x="3862" y="5103"/>
                </a:lnTo>
                <a:lnTo>
                  <a:pt x="3862" y="5103"/>
                </a:lnTo>
                <a:cubicBezTo>
                  <a:pt x="4102" y="5189"/>
                  <a:pt x="4294" y="5384"/>
                  <a:pt x="4378" y="5624"/>
                </a:cubicBezTo>
                <a:lnTo>
                  <a:pt x="4282" y="5657"/>
                </a:lnTo>
                <a:close/>
                <a:moveTo>
                  <a:pt x="4423" y="7063"/>
                </a:moveTo>
                <a:lnTo>
                  <a:pt x="4322" y="7063"/>
                </a:lnTo>
                <a:lnTo>
                  <a:pt x="4322" y="6350"/>
                </a:lnTo>
                <a:lnTo>
                  <a:pt x="4423" y="6350"/>
                </a:lnTo>
                <a:lnTo>
                  <a:pt x="4423" y="7063"/>
                </a:lnTo>
                <a:close/>
                <a:moveTo>
                  <a:pt x="5094" y="8154"/>
                </a:moveTo>
                <a:lnTo>
                  <a:pt x="5094" y="8154"/>
                </a:lnTo>
                <a:cubicBezTo>
                  <a:pt x="4837" y="8130"/>
                  <a:pt x="4607" y="7994"/>
                  <a:pt x="4463" y="7778"/>
                </a:cubicBezTo>
                <a:lnTo>
                  <a:pt x="4548" y="7722"/>
                </a:lnTo>
                <a:lnTo>
                  <a:pt x="4548" y="7722"/>
                </a:lnTo>
                <a:cubicBezTo>
                  <a:pt x="4675" y="7911"/>
                  <a:pt x="4877" y="8032"/>
                  <a:pt x="5103" y="8052"/>
                </a:cubicBezTo>
                <a:lnTo>
                  <a:pt x="5094" y="8154"/>
                </a:lnTo>
                <a:close/>
                <a:moveTo>
                  <a:pt x="6525" y="8156"/>
                </a:moveTo>
                <a:lnTo>
                  <a:pt x="5812" y="8156"/>
                </a:lnTo>
                <a:lnTo>
                  <a:pt x="5812" y="8054"/>
                </a:lnTo>
                <a:lnTo>
                  <a:pt x="6525" y="8054"/>
                </a:lnTo>
                <a:lnTo>
                  <a:pt x="6525" y="8156"/>
                </a:lnTo>
                <a:close/>
                <a:moveTo>
                  <a:pt x="7743" y="8558"/>
                </a:moveTo>
                <a:lnTo>
                  <a:pt x="7743" y="8558"/>
                </a:lnTo>
                <a:cubicBezTo>
                  <a:pt x="7639" y="8357"/>
                  <a:pt x="7451" y="8215"/>
                  <a:pt x="7228" y="8171"/>
                </a:cubicBezTo>
                <a:lnTo>
                  <a:pt x="7248" y="8071"/>
                </a:lnTo>
                <a:lnTo>
                  <a:pt x="7248" y="8071"/>
                </a:lnTo>
                <a:cubicBezTo>
                  <a:pt x="7501" y="8121"/>
                  <a:pt x="7714" y="8281"/>
                  <a:pt x="7834" y="8511"/>
                </a:cubicBezTo>
                <a:lnTo>
                  <a:pt x="7743" y="8558"/>
                </a:lnTo>
                <a:close/>
                <a:moveTo>
                  <a:pt x="7929" y="9947"/>
                </a:moveTo>
                <a:lnTo>
                  <a:pt x="7827" y="9947"/>
                </a:lnTo>
                <a:lnTo>
                  <a:pt x="7827" y="9234"/>
                </a:lnTo>
                <a:lnTo>
                  <a:pt x="7929" y="9234"/>
                </a:lnTo>
                <a:lnTo>
                  <a:pt x="7929" y="9947"/>
                </a:lnTo>
                <a:close/>
                <a:moveTo>
                  <a:pt x="7929" y="11007"/>
                </a:moveTo>
                <a:lnTo>
                  <a:pt x="7827" y="11007"/>
                </a:lnTo>
                <a:lnTo>
                  <a:pt x="7827" y="10661"/>
                </a:lnTo>
                <a:lnTo>
                  <a:pt x="7929" y="10661"/>
                </a:lnTo>
                <a:lnTo>
                  <a:pt x="7929" y="11007"/>
                </a:lnTo>
                <a:close/>
              </a:path>
            </a:pathLst>
          </a:custGeom>
          <a:solidFill>
            <a:schemeClr val="bg1"/>
          </a:solidFill>
          <a:ln w="44450">
            <a:solidFill>
              <a:srgbClr val="71A8E3"/>
            </a:solidFill>
          </a:ln>
          <a:effectLst/>
        </p:spPr>
        <p:txBody>
          <a:bodyPr wrap="none" anchor="ctr"/>
          <a:lstStyle/>
          <a:p>
            <a:endParaRPr lang="en-US" sz="3265">
              <a:latin typeface="Gilroy Medium" panose="00000600000000000000" pitchFamily="50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76B9083-E984-B459-A791-83ED465468AF}"/>
              </a:ext>
            </a:extLst>
          </p:cNvPr>
          <p:cNvGrpSpPr/>
          <p:nvPr userDrawn="1"/>
        </p:nvGrpSpPr>
        <p:grpSpPr>
          <a:xfrm>
            <a:off x="6155347" y="1168821"/>
            <a:ext cx="5597126" cy="3884198"/>
            <a:chOff x="6040405" y="1077244"/>
            <a:chExt cx="5932550" cy="4116971"/>
          </a:xfrm>
        </p:grpSpPr>
        <p:sp>
          <p:nvSpPr>
            <p:cNvPr id="16" name="Freeform 4">
              <a:extLst>
                <a:ext uri="{FF2B5EF4-FFF2-40B4-BE49-F238E27FC236}">
                  <a16:creationId xmlns:a16="http://schemas.microsoft.com/office/drawing/2014/main" id="{A6D17E1B-F6BF-8A22-2283-3456C556CF1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40405" y="1077244"/>
              <a:ext cx="1247052" cy="1444822"/>
            </a:xfrm>
            <a:custGeom>
              <a:avLst/>
              <a:gdLst>
                <a:gd name="T0" fmla="*/ 2002 w 2003"/>
                <a:gd name="T1" fmla="*/ 1002 h 2321"/>
                <a:gd name="T2" fmla="*/ 2002 w 2003"/>
                <a:gd name="T3" fmla="*/ 1002 h 2321"/>
                <a:gd name="T4" fmla="*/ 1001 w 2003"/>
                <a:gd name="T5" fmla="*/ 0 h 2321"/>
                <a:gd name="T6" fmla="*/ 1001 w 2003"/>
                <a:gd name="T7" fmla="*/ 0 h 2321"/>
                <a:gd name="T8" fmla="*/ 0 w 2003"/>
                <a:gd name="T9" fmla="*/ 1002 h 2321"/>
                <a:gd name="T10" fmla="*/ 0 w 2003"/>
                <a:gd name="T11" fmla="*/ 1002 h 2321"/>
                <a:gd name="T12" fmla="*/ 1 w 2003"/>
                <a:gd name="T13" fmla="*/ 1034 h 2321"/>
                <a:gd name="T14" fmla="*/ 1 w 2003"/>
                <a:gd name="T15" fmla="*/ 1034 h 2321"/>
                <a:gd name="T16" fmla="*/ 139 w 2003"/>
                <a:gd name="T17" fmla="*/ 1509 h 2321"/>
                <a:gd name="T18" fmla="*/ 139 w 2003"/>
                <a:gd name="T19" fmla="*/ 1509 h 2321"/>
                <a:gd name="T20" fmla="*/ 1001 w 2003"/>
                <a:gd name="T21" fmla="*/ 2320 h 2321"/>
                <a:gd name="T22" fmla="*/ 1001 w 2003"/>
                <a:gd name="T23" fmla="*/ 2320 h 2321"/>
                <a:gd name="T24" fmla="*/ 1855 w 2003"/>
                <a:gd name="T25" fmla="*/ 1523 h 2321"/>
                <a:gd name="T26" fmla="*/ 1855 w 2003"/>
                <a:gd name="T27" fmla="*/ 1523 h 2321"/>
                <a:gd name="T28" fmla="*/ 2002 w 2003"/>
                <a:gd name="T29" fmla="*/ 1002 h 2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1">
                  <a:moveTo>
                    <a:pt x="2002" y="1002"/>
                  </a:moveTo>
                  <a:lnTo>
                    <a:pt x="2002" y="1002"/>
                  </a:lnTo>
                  <a:cubicBezTo>
                    <a:pt x="2002" y="449"/>
                    <a:pt x="1554" y="0"/>
                    <a:pt x="1001" y="0"/>
                  </a:cubicBezTo>
                  <a:lnTo>
                    <a:pt x="1001" y="0"/>
                  </a:lnTo>
                  <a:cubicBezTo>
                    <a:pt x="449" y="0"/>
                    <a:pt x="0" y="449"/>
                    <a:pt x="0" y="1002"/>
                  </a:cubicBezTo>
                  <a:lnTo>
                    <a:pt x="0" y="1002"/>
                  </a:lnTo>
                  <a:cubicBezTo>
                    <a:pt x="0" y="1002"/>
                    <a:pt x="0" y="1013"/>
                    <a:pt x="1" y="1034"/>
                  </a:cubicBezTo>
                  <a:lnTo>
                    <a:pt x="1" y="1034"/>
                  </a:lnTo>
                  <a:cubicBezTo>
                    <a:pt x="7" y="1207"/>
                    <a:pt x="56" y="1369"/>
                    <a:pt x="139" y="1509"/>
                  </a:cubicBezTo>
                  <a:lnTo>
                    <a:pt x="139" y="1509"/>
                  </a:lnTo>
                  <a:cubicBezTo>
                    <a:pt x="268" y="1764"/>
                    <a:pt x="518" y="2071"/>
                    <a:pt x="1001" y="2320"/>
                  </a:cubicBezTo>
                  <a:lnTo>
                    <a:pt x="1001" y="2320"/>
                  </a:lnTo>
                  <a:cubicBezTo>
                    <a:pt x="1475" y="2075"/>
                    <a:pt x="1724" y="1775"/>
                    <a:pt x="1855" y="1523"/>
                  </a:cubicBezTo>
                  <a:lnTo>
                    <a:pt x="1855" y="1523"/>
                  </a:lnTo>
                  <a:cubicBezTo>
                    <a:pt x="1948" y="1371"/>
                    <a:pt x="2002" y="1192"/>
                    <a:pt x="2002" y="1002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latin typeface="Gilroy Medium" panose="00000600000000000000" pitchFamily="50" charset="0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3F51244-EEF0-9BCA-2F92-90F992089F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62460" y="1799655"/>
              <a:ext cx="1247052" cy="1444822"/>
            </a:xfrm>
            <a:custGeom>
              <a:avLst/>
              <a:gdLst>
                <a:gd name="T0" fmla="*/ 2002 w 2003"/>
                <a:gd name="T1" fmla="*/ 1001 h 2320"/>
                <a:gd name="T2" fmla="*/ 2002 w 2003"/>
                <a:gd name="T3" fmla="*/ 1001 h 2320"/>
                <a:gd name="T4" fmla="*/ 1001 w 2003"/>
                <a:gd name="T5" fmla="*/ 0 h 2320"/>
                <a:gd name="T6" fmla="*/ 1001 w 2003"/>
                <a:gd name="T7" fmla="*/ 0 h 2320"/>
                <a:gd name="T8" fmla="*/ 1 w 2003"/>
                <a:gd name="T9" fmla="*/ 1001 h 2320"/>
                <a:gd name="T10" fmla="*/ 1 w 2003"/>
                <a:gd name="T11" fmla="*/ 1001 h 2320"/>
                <a:gd name="T12" fmla="*/ 1 w 2003"/>
                <a:gd name="T13" fmla="*/ 1033 h 2320"/>
                <a:gd name="T14" fmla="*/ 1 w 2003"/>
                <a:gd name="T15" fmla="*/ 1033 h 2320"/>
                <a:gd name="T16" fmla="*/ 139 w 2003"/>
                <a:gd name="T17" fmla="*/ 1508 h 2320"/>
                <a:gd name="T18" fmla="*/ 139 w 2003"/>
                <a:gd name="T19" fmla="*/ 1508 h 2320"/>
                <a:gd name="T20" fmla="*/ 1000 w 2003"/>
                <a:gd name="T21" fmla="*/ 2319 h 2320"/>
                <a:gd name="T22" fmla="*/ 1000 w 2003"/>
                <a:gd name="T23" fmla="*/ 2319 h 2320"/>
                <a:gd name="T24" fmla="*/ 1855 w 2003"/>
                <a:gd name="T25" fmla="*/ 1522 h 2320"/>
                <a:gd name="T26" fmla="*/ 1855 w 2003"/>
                <a:gd name="T27" fmla="*/ 1522 h 2320"/>
                <a:gd name="T28" fmla="*/ 2002 w 2003"/>
                <a:gd name="T29" fmla="*/ 1001 h 2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0">
                  <a:moveTo>
                    <a:pt x="2002" y="1001"/>
                  </a:moveTo>
                  <a:lnTo>
                    <a:pt x="2002" y="1001"/>
                  </a:lnTo>
                  <a:cubicBezTo>
                    <a:pt x="2002" y="448"/>
                    <a:pt x="1554" y="0"/>
                    <a:pt x="1001" y="0"/>
                  </a:cubicBezTo>
                  <a:lnTo>
                    <a:pt x="1001" y="0"/>
                  </a:lnTo>
                  <a:cubicBezTo>
                    <a:pt x="448" y="0"/>
                    <a:pt x="1" y="448"/>
                    <a:pt x="1" y="1001"/>
                  </a:cubicBezTo>
                  <a:lnTo>
                    <a:pt x="1" y="1001"/>
                  </a:lnTo>
                  <a:cubicBezTo>
                    <a:pt x="1" y="1001"/>
                    <a:pt x="0" y="1012"/>
                    <a:pt x="1" y="1033"/>
                  </a:cubicBezTo>
                  <a:lnTo>
                    <a:pt x="1" y="1033"/>
                  </a:lnTo>
                  <a:cubicBezTo>
                    <a:pt x="7" y="1206"/>
                    <a:pt x="56" y="1368"/>
                    <a:pt x="139" y="1508"/>
                  </a:cubicBezTo>
                  <a:lnTo>
                    <a:pt x="139" y="1508"/>
                  </a:lnTo>
                  <a:cubicBezTo>
                    <a:pt x="268" y="1763"/>
                    <a:pt x="518" y="2070"/>
                    <a:pt x="1000" y="2319"/>
                  </a:cubicBezTo>
                  <a:lnTo>
                    <a:pt x="1000" y="2319"/>
                  </a:lnTo>
                  <a:cubicBezTo>
                    <a:pt x="1475" y="2075"/>
                    <a:pt x="1724" y="1774"/>
                    <a:pt x="1855" y="1522"/>
                  </a:cubicBezTo>
                  <a:lnTo>
                    <a:pt x="1855" y="1522"/>
                  </a:lnTo>
                  <a:cubicBezTo>
                    <a:pt x="1948" y="1370"/>
                    <a:pt x="2002" y="1192"/>
                    <a:pt x="2002" y="1001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solidFill>
                  <a:srgbClr val="3680CE"/>
                </a:solidFill>
                <a:latin typeface="Gilroy Medium" panose="00000600000000000000" pitchFamily="50" charset="0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F9E3F30A-100E-DFCA-0C48-0F43E63D2A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28537" y="3244477"/>
              <a:ext cx="1247052" cy="1444822"/>
            </a:xfrm>
            <a:custGeom>
              <a:avLst/>
              <a:gdLst>
                <a:gd name="T0" fmla="*/ 2002 w 2003"/>
                <a:gd name="T1" fmla="*/ 1000 h 2320"/>
                <a:gd name="T2" fmla="*/ 2002 w 2003"/>
                <a:gd name="T3" fmla="*/ 1000 h 2320"/>
                <a:gd name="T4" fmla="*/ 1001 w 2003"/>
                <a:gd name="T5" fmla="*/ 0 h 2320"/>
                <a:gd name="T6" fmla="*/ 1001 w 2003"/>
                <a:gd name="T7" fmla="*/ 0 h 2320"/>
                <a:gd name="T8" fmla="*/ 0 w 2003"/>
                <a:gd name="T9" fmla="*/ 1000 h 2320"/>
                <a:gd name="T10" fmla="*/ 0 w 2003"/>
                <a:gd name="T11" fmla="*/ 1000 h 2320"/>
                <a:gd name="T12" fmla="*/ 1 w 2003"/>
                <a:gd name="T13" fmla="*/ 1033 h 2320"/>
                <a:gd name="T14" fmla="*/ 1 w 2003"/>
                <a:gd name="T15" fmla="*/ 1033 h 2320"/>
                <a:gd name="T16" fmla="*/ 139 w 2003"/>
                <a:gd name="T17" fmla="*/ 1508 h 2320"/>
                <a:gd name="T18" fmla="*/ 139 w 2003"/>
                <a:gd name="T19" fmla="*/ 1508 h 2320"/>
                <a:gd name="T20" fmla="*/ 1000 w 2003"/>
                <a:gd name="T21" fmla="*/ 2319 h 2320"/>
                <a:gd name="T22" fmla="*/ 1000 w 2003"/>
                <a:gd name="T23" fmla="*/ 2319 h 2320"/>
                <a:gd name="T24" fmla="*/ 1855 w 2003"/>
                <a:gd name="T25" fmla="*/ 1522 h 2320"/>
                <a:gd name="T26" fmla="*/ 1855 w 2003"/>
                <a:gd name="T27" fmla="*/ 1522 h 2320"/>
                <a:gd name="T28" fmla="*/ 2002 w 2003"/>
                <a:gd name="T29" fmla="*/ 1000 h 2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0">
                  <a:moveTo>
                    <a:pt x="2002" y="1000"/>
                  </a:moveTo>
                  <a:lnTo>
                    <a:pt x="2002" y="1000"/>
                  </a:lnTo>
                  <a:cubicBezTo>
                    <a:pt x="2002" y="447"/>
                    <a:pt x="1554" y="0"/>
                    <a:pt x="1001" y="0"/>
                  </a:cubicBezTo>
                  <a:lnTo>
                    <a:pt x="1001" y="0"/>
                  </a:lnTo>
                  <a:cubicBezTo>
                    <a:pt x="448" y="0"/>
                    <a:pt x="0" y="447"/>
                    <a:pt x="0" y="1000"/>
                  </a:cubicBezTo>
                  <a:lnTo>
                    <a:pt x="0" y="1000"/>
                  </a:lnTo>
                  <a:cubicBezTo>
                    <a:pt x="0" y="1000"/>
                    <a:pt x="0" y="1012"/>
                    <a:pt x="1" y="1033"/>
                  </a:cubicBezTo>
                  <a:lnTo>
                    <a:pt x="1" y="1033"/>
                  </a:lnTo>
                  <a:cubicBezTo>
                    <a:pt x="7" y="1206"/>
                    <a:pt x="56" y="1368"/>
                    <a:pt x="139" y="1508"/>
                  </a:cubicBezTo>
                  <a:lnTo>
                    <a:pt x="139" y="1508"/>
                  </a:lnTo>
                  <a:cubicBezTo>
                    <a:pt x="267" y="1763"/>
                    <a:pt x="518" y="2070"/>
                    <a:pt x="1000" y="2319"/>
                  </a:cubicBezTo>
                  <a:lnTo>
                    <a:pt x="1000" y="2319"/>
                  </a:lnTo>
                  <a:cubicBezTo>
                    <a:pt x="1474" y="2075"/>
                    <a:pt x="1724" y="1774"/>
                    <a:pt x="1855" y="1522"/>
                  </a:cubicBezTo>
                  <a:lnTo>
                    <a:pt x="1855" y="1522"/>
                  </a:lnTo>
                  <a:cubicBezTo>
                    <a:pt x="1948" y="1370"/>
                    <a:pt x="2002" y="1192"/>
                    <a:pt x="2002" y="1000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latin typeface="Gilroy Medium" panose="00000600000000000000" pitchFamily="50" charset="0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392E0BFC-9EFA-B829-7466-C444E71B382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25903" y="3749393"/>
              <a:ext cx="1247052" cy="1444822"/>
            </a:xfrm>
            <a:custGeom>
              <a:avLst/>
              <a:gdLst>
                <a:gd name="T0" fmla="*/ 2002 w 2003"/>
                <a:gd name="T1" fmla="*/ 1001 h 2320"/>
                <a:gd name="T2" fmla="*/ 2002 w 2003"/>
                <a:gd name="T3" fmla="*/ 1001 h 2320"/>
                <a:gd name="T4" fmla="*/ 1001 w 2003"/>
                <a:gd name="T5" fmla="*/ 0 h 2320"/>
                <a:gd name="T6" fmla="*/ 1001 w 2003"/>
                <a:gd name="T7" fmla="*/ 0 h 2320"/>
                <a:gd name="T8" fmla="*/ 1 w 2003"/>
                <a:gd name="T9" fmla="*/ 1001 h 2320"/>
                <a:gd name="T10" fmla="*/ 1 w 2003"/>
                <a:gd name="T11" fmla="*/ 1001 h 2320"/>
                <a:gd name="T12" fmla="*/ 1 w 2003"/>
                <a:gd name="T13" fmla="*/ 1033 h 2320"/>
                <a:gd name="T14" fmla="*/ 1 w 2003"/>
                <a:gd name="T15" fmla="*/ 1033 h 2320"/>
                <a:gd name="T16" fmla="*/ 139 w 2003"/>
                <a:gd name="T17" fmla="*/ 1508 h 2320"/>
                <a:gd name="T18" fmla="*/ 139 w 2003"/>
                <a:gd name="T19" fmla="*/ 1508 h 2320"/>
                <a:gd name="T20" fmla="*/ 1000 w 2003"/>
                <a:gd name="T21" fmla="*/ 2319 h 2320"/>
                <a:gd name="T22" fmla="*/ 1000 w 2003"/>
                <a:gd name="T23" fmla="*/ 2319 h 2320"/>
                <a:gd name="T24" fmla="*/ 1855 w 2003"/>
                <a:gd name="T25" fmla="*/ 1523 h 2320"/>
                <a:gd name="T26" fmla="*/ 1855 w 2003"/>
                <a:gd name="T27" fmla="*/ 1523 h 2320"/>
                <a:gd name="T28" fmla="*/ 2002 w 2003"/>
                <a:gd name="T29" fmla="*/ 1001 h 2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0">
                  <a:moveTo>
                    <a:pt x="2002" y="1001"/>
                  </a:moveTo>
                  <a:lnTo>
                    <a:pt x="2002" y="1001"/>
                  </a:lnTo>
                  <a:cubicBezTo>
                    <a:pt x="2002" y="448"/>
                    <a:pt x="1553" y="0"/>
                    <a:pt x="1001" y="0"/>
                  </a:cubicBezTo>
                  <a:lnTo>
                    <a:pt x="1001" y="0"/>
                  </a:lnTo>
                  <a:cubicBezTo>
                    <a:pt x="449" y="0"/>
                    <a:pt x="1" y="448"/>
                    <a:pt x="1" y="1001"/>
                  </a:cubicBezTo>
                  <a:lnTo>
                    <a:pt x="1" y="1001"/>
                  </a:lnTo>
                  <a:cubicBezTo>
                    <a:pt x="1" y="1001"/>
                    <a:pt x="0" y="1012"/>
                    <a:pt x="1" y="1033"/>
                  </a:cubicBezTo>
                  <a:lnTo>
                    <a:pt x="1" y="1033"/>
                  </a:lnTo>
                  <a:cubicBezTo>
                    <a:pt x="7" y="1206"/>
                    <a:pt x="57" y="1368"/>
                    <a:pt x="139" y="1508"/>
                  </a:cubicBezTo>
                  <a:lnTo>
                    <a:pt x="139" y="1508"/>
                  </a:lnTo>
                  <a:cubicBezTo>
                    <a:pt x="268" y="1764"/>
                    <a:pt x="518" y="2070"/>
                    <a:pt x="1000" y="2319"/>
                  </a:cubicBezTo>
                  <a:lnTo>
                    <a:pt x="1000" y="2319"/>
                  </a:lnTo>
                  <a:cubicBezTo>
                    <a:pt x="1474" y="2075"/>
                    <a:pt x="1723" y="1775"/>
                    <a:pt x="1855" y="1523"/>
                  </a:cubicBezTo>
                  <a:lnTo>
                    <a:pt x="1855" y="1523"/>
                  </a:lnTo>
                  <a:cubicBezTo>
                    <a:pt x="1948" y="1370"/>
                    <a:pt x="2002" y="1192"/>
                    <a:pt x="2002" y="1001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latin typeface="Gilroy Medium" panose="00000600000000000000" pitchFamily="50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AA6D690-C698-DD52-8CBB-FD5EBA199E0F}"/>
                </a:ext>
              </a:extLst>
            </p:cNvPr>
            <p:cNvSpPr txBox="1"/>
            <p:nvPr userDrawn="1"/>
          </p:nvSpPr>
          <p:spPr>
            <a:xfrm>
              <a:off x="6277141" y="1555578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1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E202177-A0A3-7D88-8201-9D04CDA383E0}"/>
                </a:ext>
              </a:extLst>
            </p:cNvPr>
            <p:cNvSpPr txBox="1"/>
            <p:nvPr userDrawn="1"/>
          </p:nvSpPr>
          <p:spPr>
            <a:xfrm>
              <a:off x="7895535" y="2274661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2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93F20E4-154D-645A-EF04-5ADF189D49A7}"/>
                </a:ext>
              </a:extLst>
            </p:cNvPr>
            <p:cNvSpPr txBox="1"/>
            <p:nvPr userDrawn="1"/>
          </p:nvSpPr>
          <p:spPr>
            <a:xfrm>
              <a:off x="9167393" y="3749393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3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9D6A3AC-2EE6-716B-45E4-57056D14E360}"/>
                </a:ext>
              </a:extLst>
            </p:cNvPr>
            <p:cNvSpPr txBox="1"/>
            <p:nvPr userDrawn="1"/>
          </p:nvSpPr>
          <p:spPr>
            <a:xfrm>
              <a:off x="10964759" y="4232831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46778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ek Sche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1366CA1-4CC7-BF24-ABE7-AEE5361EF3CA}"/>
              </a:ext>
            </a:extLst>
          </p:cNvPr>
          <p:cNvSpPr/>
          <p:nvPr userDrawn="1"/>
        </p:nvSpPr>
        <p:spPr>
          <a:xfrm>
            <a:off x="3047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9882350-35F7-F137-A300-3154BB5E34FA}"/>
              </a:ext>
            </a:extLst>
          </p:cNvPr>
          <p:cNvSpPr/>
          <p:nvPr userDrawn="1"/>
        </p:nvSpPr>
        <p:spPr>
          <a:xfrm>
            <a:off x="32765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C773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30C34CE-E743-C5CE-0566-A6348A458DCB}"/>
              </a:ext>
            </a:extLst>
          </p:cNvPr>
          <p:cNvSpPr/>
          <p:nvPr userDrawn="1"/>
        </p:nvSpPr>
        <p:spPr>
          <a:xfrm>
            <a:off x="62483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A8D99EF-EB86-548C-11F3-0BEFFAB42FFD}"/>
              </a:ext>
            </a:extLst>
          </p:cNvPr>
          <p:cNvSpPr/>
          <p:nvPr userDrawn="1"/>
        </p:nvSpPr>
        <p:spPr>
          <a:xfrm>
            <a:off x="9207753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0F44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5F3872A-5020-9E81-994E-3B78940FFA84}"/>
              </a:ext>
            </a:extLst>
          </p:cNvPr>
          <p:cNvSpPr/>
          <p:nvPr userDrawn="1"/>
        </p:nvSpPr>
        <p:spPr>
          <a:xfrm>
            <a:off x="1790698" y="3842673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CD08363-7BDE-1994-9A0F-8B8835C9D39B}"/>
              </a:ext>
            </a:extLst>
          </p:cNvPr>
          <p:cNvSpPr/>
          <p:nvPr userDrawn="1"/>
        </p:nvSpPr>
        <p:spPr>
          <a:xfrm>
            <a:off x="4762496" y="3828105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1457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8DE32D-DAC0-28AA-F629-6530651BAC1C}"/>
              </a:ext>
            </a:extLst>
          </p:cNvPr>
          <p:cNvSpPr/>
          <p:nvPr userDrawn="1"/>
        </p:nvSpPr>
        <p:spPr>
          <a:xfrm>
            <a:off x="7734298" y="3842673"/>
            <a:ext cx="2667001" cy="2305050"/>
          </a:xfrm>
          <a:prstGeom prst="roundRect">
            <a:avLst>
              <a:gd name="adj" fmla="val 675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3E0FB13C-B3D3-CC89-8B22-4D3DC55EDDA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57336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35823ED-48FE-341A-AB02-4ADE49610B9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57336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B28C6E4-D43D-4AAD-AA6C-BD9885E32FD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31764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ABF7D7BD-778A-4E3E-D4B4-013993C4A83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31764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25BA7AF2-63E2-9747-5CF2-6EE0AFC3334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5681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D2E02903-004F-C3F0-21E5-8C7F3FC5BC1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395681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B316079D-17AC-A4EE-5AF4-ABD7EE1435B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372738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0A73F0F4-6102-FBB6-F8BD-E76801D5BE4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372738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28CBEB1-C473-BA68-682F-E25666C73B2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50075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C9E0F917-776A-5630-408D-AE759278995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50075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61C6F05D-EDC3-09AE-0D3B-824642A38F7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915037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0B2FA8DC-9809-2D57-EDF3-4E92723CBC1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915037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1BE6E11F-D789-FD72-BCD1-6D4D6CDEB73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879999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1E8815AD-159B-3574-EEB3-46C58943500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879999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64992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hoto/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6" y="5768976"/>
            <a:ext cx="3634250" cy="36418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4247FAE-F3BC-A7B3-E9DB-100FEF39B32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88117" y="0"/>
            <a:ext cx="7303883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FA5B9A31-47DC-482D-ABBA-D2E3E87CF5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7800" y="724844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3C471A95-A226-5D96-1264-63E47463E2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7800" y="2106461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A2D0DDB-D0DD-0619-593D-81C91863F7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27800" y="3482344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DB128B8D-4433-B2D3-8692-380FB8447E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27800" y="4806292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07E4918-859A-C015-91FC-7468161E3DF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4800" y="724844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958279B1-5F88-9920-6B86-FF48038CE11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2106461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0E99209E-3FB0-B917-35E1-04FED0526B4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4800" y="3482344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02189042-D8A9-0154-C2F2-0B0CED24A6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04800" y="4806292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86857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6" y="5768975"/>
            <a:ext cx="5900605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E1B85BB8-4393-BC66-B4FF-8014499131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1"/>
            <a:ext cx="3624408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DE9B4E-537B-E0B0-C4DB-0D95B8828F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7" y="2414898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FA69E259-7852-EFDF-8192-66328EFFEB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7" y="3610595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51DD9120-B068-0899-D633-842668897D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7" y="4806291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F5C1F92D-6FE9-8836-F453-891297070CFB}"/>
              </a:ext>
            </a:extLst>
          </p:cNvPr>
          <p:cNvGrpSpPr/>
          <p:nvPr userDrawn="1"/>
        </p:nvGrpSpPr>
        <p:grpSpPr>
          <a:xfrm>
            <a:off x="6074697" y="1219200"/>
            <a:ext cx="5782355" cy="4373770"/>
            <a:chOff x="1549047" y="1642531"/>
            <a:chExt cx="5782355" cy="4373770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317D88F-96E7-4AD7-BD83-7A22337F8FFC}"/>
                </a:ext>
              </a:extLst>
            </p:cNvPr>
            <p:cNvSpPr/>
            <p:nvPr/>
          </p:nvSpPr>
          <p:spPr>
            <a:xfrm>
              <a:off x="1679751" y="1775876"/>
              <a:ext cx="5511450" cy="4098849"/>
            </a:xfrm>
            <a:prstGeom prst="roundRect">
              <a:avLst>
                <a:gd name="adj" fmla="val 3589"/>
              </a:avLst>
            </a:prstGeom>
            <a:solidFill>
              <a:srgbClr val="EC9F0B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0" name="Straight Connector 29">
              <a:extLst>
                <a:ext uri="{FF2B5EF4-FFF2-40B4-BE49-F238E27FC236}">
                  <a16:creationId xmlns:a16="http://schemas.microsoft.com/office/drawing/2014/main" id="{145318AE-6408-4053-8034-1E9D1CAEE9FD}"/>
                </a:ext>
              </a:extLst>
            </p:cNvPr>
            <p:cNvSpPr/>
            <p:nvPr/>
          </p:nvSpPr>
          <p:spPr>
            <a:xfrm>
              <a:off x="4465935" y="1712631"/>
              <a:ext cx="0" cy="4208827"/>
            </a:xfrm>
            <a:prstGeom prst="line">
              <a:avLst/>
            </a:prstGeom>
            <a:noFill/>
            <a:ln w="19050" cap="flat">
              <a:solidFill>
                <a:schemeClr val="accent5"/>
              </a:solidFill>
              <a:prstDash val="solid"/>
              <a:round/>
            </a:ln>
          </p:spPr>
          <p:txBody>
            <a:bodyPr vert="horz" wrap="none" lIns="900" tIns="900" rIns="900" bIns="9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3" name="Straight Connector 32">
              <a:extLst>
                <a:ext uri="{FF2B5EF4-FFF2-40B4-BE49-F238E27FC236}">
                  <a16:creationId xmlns:a16="http://schemas.microsoft.com/office/drawing/2014/main" id="{00A0533C-44E6-4F69-86FF-781C7ABC43CF}"/>
                </a:ext>
              </a:extLst>
            </p:cNvPr>
            <p:cNvSpPr/>
            <p:nvPr/>
          </p:nvSpPr>
          <p:spPr>
            <a:xfrm flipH="1">
              <a:off x="1619147" y="3825301"/>
              <a:ext cx="5572054" cy="0"/>
            </a:xfrm>
            <a:prstGeom prst="line">
              <a:avLst/>
            </a:prstGeom>
            <a:noFill/>
            <a:ln w="19050" cap="flat">
              <a:solidFill>
                <a:schemeClr val="accent5"/>
              </a:solidFill>
              <a:prstDash val="solid"/>
              <a:round/>
            </a:ln>
          </p:spPr>
          <p:txBody>
            <a:bodyPr vert="horz" wrap="none" lIns="900" tIns="900" rIns="900" bIns="9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A1C9B0DB-F070-4AA7-B572-F133C208612B}"/>
                </a:ext>
              </a:extLst>
            </p:cNvPr>
            <p:cNvSpPr/>
            <p:nvPr/>
          </p:nvSpPr>
          <p:spPr>
            <a:xfrm>
              <a:off x="4384305" y="1642531"/>
              <a:ext cx="162633" cy="1402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2" h="226">
                  <a:moveTo>
                    <a:pt x="131" y="0"/>
                  </a:moveTo>
                  <a:lnTo>
                    <a:pt x="0" y="226"/>
                  </a:lnTo>
                  <a:lnTo>
                    <a:pt x="262" y="226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567529EF-0A17-43D4-A9BD-2D0E4264C893}"/>
                </a:ext>
              </a:extLst>
            </p:cNvPr>
            <p:cNvSpPr/>
            <p:nvPr/>
          </p:nvSpPr>
          <p:spPr>
            <a:xfrm>
              <a:off x="7191201" y="3744296"/>
              <a:ext cx="140201" cy="1620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6" h="261">
                  <a:moveTo>
                    <a:pt x="226" y="130"/>
                  </a:moveTo>
                  <a:lnTo>
                    <a:pt x="0" y="0"/>
                  </a:lnTo>
                  <a:lnTo>
                    <a:pt x="0" y="261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7725938-EC3E-44B4-9EB5-41DD24B79310}"/>
                </a:ext>
              </a:extLst>
            </p:cNvPr>
            <p:cNvSpPr/>
            <p:nvPr/>
          </p:nvSpPr>
          <p:spPr>
            <a:xfrm>
              <a:off x="4384305" y="5876100"/>
              <a:ext cx="162633" cy="1402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2" h="226">
                  <a:moveTo>
                    <a:pt x="131" y="226"/>
                  </a:move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2C6845F-090B-40B0-A362-7A15965D38E0}"/>
                </a:ext>
              </a:extLst>
            </p:cNvPr>
            <p:cNvSpPr/>
            <p:nvPr/>
          </p:nvSpPr>
          <p:spPr>
            <a:xfrm>
              <a:off x="1549047" y="3759251"/>
              <a:ext cx="140201" cy="1620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6" h="261">
                  <a:moveTo>
                    <a:pt x="0" y="130"/>
                  </a:moveTo>
                  <a:lnTo>
                    <a:pt x="226" y="261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</p:grp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4EDABC-D71B-7C1F-8A30-770BAE0FC7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76182" y="5768854"/>
            <a:ext cx="4569888" cy="365125"/>
          </a:xfrm>
        </p:spPr>
        <p:txBody>
          <a:bodyPr/>
          <a:lstStyle>
            <a:lvl1pPr algn="ctr"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239B2A47-934D-5374-A0F4-C07FE9977E2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3754620" y="3223456"/>
            <a:ext cx="4106948" cy="365125"/>
          </a:xfrm>
        </p:spPr>
        <p:txBody>
          <a:bodyPr/>
          <a:lstStyle>
            <a:lvl1pPr algn="ctr"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91AD4326-F4E9-9C47-2DA9-4993909B6EE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5401" y="1635778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E1810209-D8A6-FD38-26E5-67C424E5E7B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91272" y="1635778"/>
            <a:ext cx="2725580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3F83BD9B-E629-9B75-7C70-7525AED611E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05401" y="4716434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3E116D7F-5F53-06D7-CE87-23C28CF9057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91271" y="4716434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7C12A7B-9EF8-AEDF-2575-EA5DA7BEF6F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762673" y="2142861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4B65FD40-169F-F326-47E8-1432DD48D5E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518243" y="2142861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4FA2F5BF-753D-6582-5F26-C36630AB82B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762673" y="3625840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8D063A49-5C1A-306D-511F-8662285612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18243" y="3625840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46915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P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635876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7" y="5768975"/>
            <a:ext cx="6358762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635876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E1B85BB8-4393-BC66-B4FF-8014499131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1"/>
            <a:ext cx="516158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DE9B4E-537B-E0B0-C4DB-0D95B8828F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7" y="2414898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FA69E259-7852-EFDF-8192-66328EFFEB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7" y="3610595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51DD9120-B068-0899-D633-842668897D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7" y="4806291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D1CCA079-F015-9D0B-435B-8B533B1E528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967728" y="248594"/>
            <a:ext cx="4919472" cy="5885506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4786562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blem 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277A123-21DA-40CE-B431-92CC45964013}"/>
              </a:ext>
            </a:extLst>
          </p:cNvPr>
          <p:cNvSpPr/>
          <p:nvPr userDrawn="1"/>
        </p:nvSpPr>
        <p:spPr>
          <a:xfrm>
            <a:off x="304796" y="15239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B41FAAD-7AC8-731A-123A-BE82562493F6}"/>
              </a:ext>
            </a:extLst>
          </p:cNvPr>
          <p:cNvSpPr/>
          <p:nvPr userDrawn="1"/>
        </p:nvSpPr>
        <p:spPr>
          <a:xfrm>
            <a:off x="304796" y="30606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3AC9BC4-68A6-9698-3277-84C08E3A4FE3}"/>
              </a:ext>
            </a:extLst>
          </p:cNvPr>
          <p:cNvSpPr/>
          <p:nvPr userDrawn="1"/>
        </p:nvSpPr>
        <p:spPr>
          <a:xfrm>
            <a:off x="304796" y="4567234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8BE099A-50C1-905E-4C39-DB7B4D4FBE6B}"/>
              </a:ext>
            </a:extLst>
          </p:cNvPr>
          <p:cNvSpPr/>
          <p:nvPr userDrawn="1"/>
        </p:nvSpPr>
        <p:spPr>
          <a:xfrm>
            <a:off x="6548624" y="15239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4FBEE3E-9113-6772-A9D0-E842B248D267}"/>
              </a:ext>
            </a:extLst>
          </p:cNvPr>
          <p:cNvSpPr/>
          <p:nvPr userDrawn="1"/>
        </p:nvSpPr>
        <p:spPr>
          <a:xfrm>
            <a:off x="6548624" y="30606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C773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5F44D307-3B59-B3A7-B673-5E599BB053D3}"/>
              </a:ext>
            </a:extLst>
          </p:cNvPr>
          <p:cNvSpPr/>
          <p:nvPr userDrawn="1"/>
        </p:nvSpPr>
        <p:spPr>
          <a:xfrm>
            <a:off x="6548624" y="4567234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0F44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8E352DA-FF04-36BF-CDB8-9D168B369D23}"/>
              </a:ext>
            </a:extLst>
          </p:cNvPr>
          <p:cNvCxnSpPr/>
          <p:nvPr userDrawn="1"/>
        </p:nvCxnSpPr>
        <p:spPr>
          <a:xfrm>
            <a:off x="5822731" y="2144110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308CA50-6DC2-DB93-2A7F-967901CC7BFC}"/>
              </a:ext>
            </a:extLst>
          </p:cNvPr>
          <p:cNvCxnSpPr>
            <a:cxnSpLocks/>
          </p:cNvCxnSpPr>
          <p:nvPr userDrawn="1"/>
        </p:nvCxnSpPr>
        <p:spPr>
          <a:xfrm>
            <a:off x="5822731" y="3676648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95482F3-BE7A-6063-3F74-E7CFE37C5D68}"/>
              </a:ext>
            </a:extLst>
          </p:cNvPr>
          <p:cNvCxnSpPr>
            <a:cxnSpLocks/>
          </p:cNvCxnSpPr>
          <p:nvPr userDrawn="1"/>
        </p:nvCxnSpPr>
        <p:spPr>
          <a:xfrm>
            <a:off x="5822731" y="5183186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61755C0-BE8F-2307-55C1-F1CF08EC24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2438" y="1523995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79E63985-202E-44C4-FEF8-9D09D8A725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2438" y="3071201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24A33675-CF40-5496-4117-515D5D08FE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2438" y="4579929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5CA7CEAA-CD1C-AE53-D999-47F849F9E1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26621" y="4579929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57D78F3C-11F0-1F5A-39DD-CA19C0DCE5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26621" y="3071201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77DD4C1D-1F57-6816-8675-584DA58C24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26621" y="1523995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715942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>
            <a:extLst>
              <a:ext uri="{FF2B5EF4-FFF2-40B4-BE49-F238E27FC236}">
                <a16:creationId xmlns:a16="http://schemas.microsoft.com/office/drawing/2014/main" id="{16DBBF03-925F-AA70-F5DD-CD9F7BC1EF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4800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304E06D-D9A7-FA86-D8D8-C47056B56C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4800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3E0B630-9DB0-EEDA-A570-6BAE8F21570B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F1FAC5E-ABB5-EB4E-AEC8-1FBF0208D1D3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019676C-DE24-382F-60F2-14920C2F6B5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B28EDD5-B8CE-BBFF-1FD4-3DE14BE01FA3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EC1C47B-72E7-C8D7-5E59-9263FEFFD44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C405638-6C59-2CB0-7CF0-0718DB4028D8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1EFA489-93C3-3250-1276-8A57886E33D2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213B9ED-5B5D-76A0-A456-2075B3BDBCC5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64A79D3-DFB3-1710-FD97-92387564B206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0C18AA2-5B78-23EE-95B8-C19EAF32F68E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F63F77E-4785-1721-68FE-96FC150F077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DC4BB03-8D95-F56E-D208-32295AEE0681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C413682-5E99-FF2E-418D-2BCDEAF26C8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8FAE6FC-BE78-2CE4-8B5A-68CA06047269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7D9219B-2206-0A76-0918-45DE2AC7612C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88C9796-37C1-8A9C-0542-78731590614C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5417AECC-9BC0-45D9-566E-A8AE8F662D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over Slide 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D31A0C-C119-9375-9E5D-9A81BDD66D1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A7AE4C7-DD71-97A4-87D5-9F07C31D7D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727372" y="6256303"/>
            <a:ext cx="1159828" cy="355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0200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pid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7" name="Table Placeholder 86">
            <a:extLst>
              <a:ext uri="{FF2B5EF4-FFF2-40B4-BE49-F238E27FC236}">
                <a16:creationId xmlns:a16="http://schemas.microsoft.com/office/drawing/2014/main" id="{1158F129-D433-505A-834D-F1C3765D3DB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04800" y="1219200"/>
            <a:ext cx="11582400" cy="43815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40518659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28C04A0-03E1-2D7E-30C7-65B4A3C38087}"/>
              </a:ext>
            </a:extLst>
          </p:cNvPr>
          <p:cNvSpPr/>
          <p:nvPr userDrawn="1"/>
        </p:nvSpPr>
        <p:spPr>
          <a:xfrm>
            <a:off x="2560507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CE8B726-14BD-9D58-9E99-FBCF5949453F}"/>
              </a:ext>
            </a:extLst>
          </p:cNvPr>
          <p:cNvSpPr/>
          <p:nvPr userDrawn="1"/>
        </p:nvSpPr>
        <p:spPr>
          <a:xfrm>
            <a:off x="304800" y="3118806"/>
            <a:ext cx="2559570" cy="463877"/>
          </a:xfrm>
          <a:custGeom>
            <a:avLst/>
            <a:gdLst>
              <a:gd name="connsiteX0" fmla="*/ 0 w 2364087"/>
              <a:gd name="connsiteY0" fmla="*/ 0 h 428449"/>
              <a:gd name="connsiteX1" fmla="*/ 2075586 w 2364087"/>
              <a:gd name="connsiteY1" fmla="*/ 0 h 428449"/>
              <a:gd name="connsiteX2" fmla="*/ 2083064 w 2364087"/>
              <a:gd name="connsiteY2" fmla="*/ 0 h 428449"/>
              <a:gd name="connsiteX3" fmla="*/ 2364087 w 2364087"/>
              <a:gd name="connsiteY3" fmla="*/ 213913 h 428449"/>
              <a:gd name="connsiteX4" fmla="*/ 2083064 w 2364087"/>
              <a:gd name="connsiteY4" fmla="*/ 427825 h 428449"/>
              <a:gd name="connsiteX5" fmla="*/ 2075586 w 2364087"/>
              <a:gd name="connsiteY5" fmla="*/ 427825 h 428449"/>
              <a:gd name="connsiteX6" fmla="*/ 1929549 w 2364087"/>
              <a:gd name="connsiteY6" fmla="*/ 427825 h 428449"/>
              <a:gd name="connsiteX7" fmla="*/ 1929549 w 2364087"/>
              <a:gd name="connsiteY7" fmla="*/ 428449 h 428449"/>
              <a:gd name="connsiteX8" fmla="*/ 433988 w 2364087"/>
              <a:gd name="connsiteY8" fmla="*/ 428449 h 428449"/>
              <a:gd name="connsiteX9" fmla="*/ 433988 w 2364087"/>
              <a:gd name="connsiteY9" fmla="*/ 427825 h 428449"/>
              <a:gd name="connsiteX10" fmla="*/ 0 w 2364087"/>
              <a:gd name="connsiteY10" fmla="*/ 427825 h 428449"/>
              <a:gd name="connsiteX11" fmla="*/ 0 w 2364087"/>
              <a:gd name="connsiteY11" fmla="*/ 213913 h 428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8449">
                <a:moveTo>
                  <a:pt x="0" y="0"/>
                </a:move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1929549" y="427825"/>
                </a:lnTo>
                <a:lnTo>
                  <a:pt x="1929549" y="428449"/>
                </a:lnTo>
                <a:lnTo>
                  <a:pt x="433988" y="428449"/>
                </a:lnTo>
                <a:lnTo>
                  <a:pt x="433988" y="427825"/>
                </a:lnTo>
                <a:lnTo>
                  <a:pt x="0" y="427825"/>
                </a:lnTo>
                <a:lnTo>
                  <a:pt x="0" y="213913"/>
                </a:lnTo>
                <a:close/>
              </a:path>
            </a:pathLst>
          </a:cu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CB0223B-81DF-610B-B34E-684E8E3D09A2}"/>
              </a:ext>
            </a:extLst>
          </p:cNvPr>
          <p:cNvSpPr/>
          <p:nvPr userDrawn="1"/>
        </p:nvSpPr>
        <p:spPr>
          <a:xfrm>
            <a:off x="4816214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01ED468-0A51-9EAF-2747-6A58BD89AA5B}"/>
              </a:ext>
            </a:extLst>
          </p:cNvPr>
          <p:cNvSpPr/>
          <p:nvPr userDrawn="1"/>
        </p:nvSpPr>
        <p:spPr>
          <a:xfrm>
            <a:off x="7071921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FB86945-B10F-9373-1473-4BB0CDDA42A0}"/>
              </a:ext>
            </a:extLst>
          </p:cNvPr>
          <p:cNvSpPr/>
          <p:nvPr userDrawn="1"/>
        </p:nvSpPr>
        <p:spPr>
          <a:xfrm>
            <a:off x="9327630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253FB15-19C8-A7EC-E4EC-F6482638B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654400E-B53D-8059-9566-541C53069E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60504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3F907908-FD27-6EBB-EF57-3A8A63BEA8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21142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08CE324-7B00-31E0-10BA-65D6277F4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81778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211C258-4F36-FFD3-FBAB-675B7DFC6D2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37486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36">
            <a:extLst>
              <a:ext uri="{FF2B5EF4-FFF2-40B4-BE49-F238E27FC236}">
                <a16:creationId xmlns:a16="http://schemas.microsoft.com/office/drawing/2014/main" id="{1F8816AA-0C4B-5FCB-874A-6B1A61B8F2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16024" y="1661854"/>
            <a:ext cx="1137122" cy="1139753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36">
            <a:extLst>
              <a:ext uri="{FF2B5EF4-FFF2-40B4-BE49-F238E27FC236}">
                <a16:creationId xmlns:a16="http://schemas.microsoft.com/office/drawing/2014/main" id="{605A5A87-0D4E-520E-B859-0E375CDF52D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273364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36">
            <a:extLst>
              <a:ext uri="{FF2B5EF4-FFF2-40B4-BE49-F238E27FC236}">
                <a16:creationId xmlns:a16="http://schemas.microsoft.com/office/drawing/2014/main" id="{093DCEF5-69FD-9757-09A8-261C134734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527438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36">
            <a:extLst>
              <a:ext uri="{FF2B5EF4-FFF2-40B4-BE49-F238E27FC236}">
                <a16:creationId xmlns:a16="http://schemas.microsoft.com/office/drawing/2014/main" id="{A5520BD3-FC13-0F18-FBD0-1F903A2423D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781512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Picture Placeholder 36">
            <a:extLst>
              <a:ext uri="{FF2B5EF4-FFF2-40B4-BE49-F238E27FC236}">
                <a16:creationId xmlns:a16="http://schemas.microsoft.com/office/drawing/2014/main" id="{7E748CC5-F80E-F45D-8C3A-966D944F439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0042120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Text Placeholder 31">
            <a:extLst>
              <a:ext uri="{FF2B5EF4-FFF2-40B4-BE49-F238E27FC236}">
                <a16:creationId xmlns:a16="http://schemas.microsoft.com/office/drawing/2014/main" id="{6CAC9987-74C6-FFF3-079F-2B8BCC6A4DA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6638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31">
            <a:extLst>
              <a:ext uri="{FF2B5EF4-FFF2-40B4-BE49-F238E27FC236}">
                <a16:creationId xmlns:a16="http://schemas.microsoft.com/office/drawing/2014/main" id="{531D2E60-3E17-7047-42B5-498FEE3EB36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9740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133B2F21-306C-FB7E-BFD7-AF967BD7084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15447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31">
            <a:extLst>
              <a:ext uri="{FF2B5EF4-FFF2-40B4-BE49-F238E27FC236}">
                <a16:creationId xmlns:a16="http://schemas.microsoft.com/office/drawing/2014/main" id="{466CE76C-D853-BB68-7C66-EFF93CA421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26863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31">
            <a:extLst>
              <a:ext uri="{FF2B5EF4-FFF2-40B4-BE49-F238E27FC236}">
                <a16:creationId xmlns:a16="http://schemas.microsoft.com/office/drawing/2014/main" id="{FD48FB29-192A-57E7-6DEA-AB4C616761F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271154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328647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imeline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28C04A0-03E1-2D7E-30C7-65B4A3C38087}"/>
              </a:ext>
            </a:extLst>
          </p:cNvPr>
          <p:cNvSpPr/>
          <p:nvPr userDrawn="1"/>
        </p:nvSpPr>
        <p:spPr>
          <a:xfrm>
            <a:off x="2560507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CE8B726-14BD-9D58-9E99-FBCF5949453F}"/>
              </a:ext>
            </a:extLst>
          </p:cNvPr>
          <p:cNvSpPr/>
          <p:nvPr userDrawn="1"/>
        </p:nvSpPr>
        <p:spPr>
          <a:xfrm>
            <a:off x="304800" y="3118806"/>
            <a:ext cx="2559570" cy="463877"/>
          </a:xfrm>
          <a:custGeom>
            <a:avLst/>
            <a:gdLst>
              <a:gd name="connsiteX0" fmla="*/ 0 w 2364087"/>
              <a:gd name="connsiteY0" fmla="*/ 0 h 428449"/>
              <a:gd name="connsiteX1" fmla="*/ 2075586 w 2364087"/>
              <a:gd name="connsiteY1" fmla="*/ 0 h 428449"/>
              <a:gd name="connsiteX2" fmla="*/ 2083064 w 2364087"/>
              <a:gd name="connsiteY2" fmla="*/ 0 h 428449"/>
              <a:gd name="connsiteX3" fmla="*/ 2364087 w 2364087"/>
              <a:gd name="connsiteY3" fmla="*/ 213913 h 428449"/>
              <a:gd name="connsiteX4" fmla="*/ 2083064 w 2364087"/>
              <a:gd name="connsiteY4" fmla="*/ 427825 h 428449"/>
              <a:gd name="connsiteX5" fmla="*/ 2075586 w 2364087"/>
              <a:gd name="connsiteY5" fmla="*/ 427825 h 428449"/>
              <a:gd name="connsiteX6" fmla="*/ 1929549 w 2364087"/>
              <a:gd name="connsiteY6" fmla="*/ 427825 h 428449"/>
              <a:gd name="connsiteX7" fmla="*/ 1929549 w 2364087"/>
              <a:gd name="connsiteY7" fmla="*/ 428449 h 428449"/>
              <a:gd name="connsiteX8" fmla="*/ 433988 w 2364087"/>
              <a:gd name="connsiteY8" fmla="*/ 428449 h 428449"/>
              <a:gd name="connsiteX9" fmla="*/ 433988 w 2364087"/>
              <a:gd name="connsiteY9" fmla="*/ 427825 h 428449"/>
              <a:gd name="connsiteX10" fmla="*/ 0 w 2364087"/>
              <a:gd name="connsiteY10" fmla="*/ 427825 h 428449"/>
              <a:gd name="connsiteX11" fmla="*/ 0 w 2364087"/>
              <a:gd name="connsiteY11" fmla="*/ 213913 h 428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8449">
                <a:moveTo>
                  <a:pt x="0" y="0"/>
                </a:move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1929549" y="427825"/>
                </a:lnTo>
                <a:lnTo>
                  <a:pt x="1929549" y="428449"/>
                </a:lnTo>
                <a:lnTo>
                  <a:pt x="433988" y="428449"/>
                </a:lnTo>
                <a:lnTo>
                  <a:pt x="433988" y="427825"/>
                </a:lnTo>
                <a:lnTo>
                  <a:pt x="0" y="427825"/>
                </a:lnTo>
                <a:lnTo>
                  <a:pt x="0" y="213913"/>
                </a:lnTo>
                <a:close/>
              </a:path>
            </a:pathLst>
          </a:cu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01ED468-0A51-9EAF-2747-6A58BD89AA5B}"/>
              </a:ext>
            </a:extLst>
          </p:cNvPr>
          <p:cNvSpPr/>
          <p:nvPr userDrawn="1"/>
        </p:nvSpPr>
        <p:spPr>
          <a:xfrm>
            <a:off x="7071921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FB86945-B10F-9373-1473-4BB0CDDA42A0}"/>
              </a:ext>
            </a:extLst>
          </p:cNvPr>
          <p:cNvSpPr/>
          <p:nvPr userDrawn="1"/>
        </p:nvSpPr>
        <p:spPr>
          <a:xfrm>
            <a:off x="9327630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253FB15-19C8-A7EC-E4EC-F6482638B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654400E-B53D-8059-9566-541C53069E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60504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08CE324-7B00-31E0-10BA-65D6277F4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81778" y="3119438"/>
            <a:ext cx="2255708" cy="461962"/>
          </a:xfrm>
          <a:noFill/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211C258-4F36-FFD3-FBAB-675B7DFC6D2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37486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31">
            <a:extLst>
              <a:ext uri="{FF2B5EF4-FFF2-40B4-BE49-F238E27FC236}">
                <a16:creationId xmlns:a16="http://schemas.microsoft.com/office/drawing/2014/main" id="{6CAC9987-74C6-FFF3-079F-2B8BCC6A4DA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6638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133B2F21-306C-FB7E-BFD7-AF967BD7084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15447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1">
            <a:extLst>
              <a:ext uri="{FF2B5EF4-FFF2-40B4-BE49-F238E27FC236}">
                <a16:creationId xmlns:a16="http://schemas.microsoft.com/office/drawing/2014/main" id="{466CE76C-D853-BB68-7C66-EFF93CA421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26863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104D2EB8-360F-1512-645B-A1B5AE954F2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759740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1">
            <a:extLst>
              <a:ext uri="{FF2B5EF4-FFF2-40B4-BE49-F238E27FC236}">
                <a16:creationId xmlns:a16="http://schemas.microsoft.com/office/drawing/2014/main" id="{62716F3F-8545-C3AD-DE74-223356DA57D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71154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9D9F75A-F491-F816-6076-836525B860C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96888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BA7E14FC-7151-E0BE-7AFD-D2E2D62E77B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759740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65E48B52-9006-142D-7F0F-E7718BFCB96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011201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1B992765-5469-81A6-394B-1D35C789F82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266908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4C86F0EB-4936-76A8-9E93-08E6C3DDDFF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22617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CB0223B-81DF-610B-B34E-684E8E3D09A2}"/>
              </a:ext>
            </a:extLst>
          </p:cNvPr>
          <p:cNvSpPr/>
          <p:nvPr userDrawn="1"/>
        </p:nvSpPr>
        <p:spPr>
          <a:xfrm>
            <a:off x="4816214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6824D7A2-0A2F-B7D0-A97A-A422D087D52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920843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86691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 70">
            <a:extLst>
              <a:ext uri="{FF2B5EF4-FFF2-40B4-BE49-F238E27FC236}">
                <a16:creationId xmlns:a16="http://schemas.microsoft.com/office/drawing/2014/main" id="{D5EE4931-6768-D7C6-B027-6E208394913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767053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0F440E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45" name="Freeform 70">
            <a:extLst>
              <a:ext uri="{FF2B5EF4-FFF2-40B4-BE49-F238E27FC236}">
                <a16:creationId xmlns:a16="http://schemas.microsoft.com/office/drawing/2014/main" id="{5C7026B2-F8D8-FAB2-1088-B31F96540BE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750804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5D910D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44" name="Freeform 70">
            <a:extLst>
              <a:ext uri="{FF2B5EF4-FFF2-40B4-BE49-F238E27FC236}">
                <a16:creationId xmlns:a16="http://schemas.microsoft.com/office/drawing/2014/main" id="{5186F264-49D3-4090-823A-02893CD72C9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731250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3680CE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reeform 70">
            <a:extLst>
              <a:ext uri="{FF2B5EF4-FFF2-40B4-BE49-F238E27FC236}">
                <a16:creationId xmlns:a16="http://schemas.microsoft.com/office/drawing/2014/main" id="{AC3006C4-BF8C-8B98-57E0-4C75052BF3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7636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EC9F0B"/>
          </a:solidFill>
          <a:ln>
            <a:solidFill>
              <a:srgbClr val="EC9F0B"/>
            </a:solidFill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1C4BDBAB-14DB-197F-8EA1-A4026CDC50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0263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C3DFAD5D-F262-E524-900F-B81C0FA826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48324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8F99D252-4EB7-03DB-8C58-53B69DD876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9251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Text Placeholder 31">
            <a:extLst>
              <a:ext uri="{FF2B5EF4-FFF2-40B4-BE49-F238E27FC236}">
                <a16:creationId xmlns:a16="http://schemas.microsoft.com/office/drawing/2014/main" id="{A2DE66A0-1FC8-776D-2462-D49E64DC1A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901852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0" name="Picture Placeholder 36">
            <a:extLst>
              <a:ext uri="{FF2B5EF4-FFF2-40B4-BE49-F238E27FC236}">
                <a16:creationId xmlns:a16="http://schemas.microsoft.com/office/drawing/2014/main" id="{D08A5CBB-3497-CA70-D127-FA55FDAC51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492402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29B0CE01-1AEF-7DC2-5A09-00BFA065DFED}"/>
              </a:ext>
            </a:extLst>
          </p:cNvPr>
          <p:cNvCxnSpPr>
            <a:cxnSpLocks/>
          </p:cNvCxnSpPr>
          <p:nvPr userDrawn="1"/>
        </p:nvCxnSpPr>
        <p:spPr>
          <a:xfrm rot="16200000" flipV="1">
            <a:off x="6282073" y="-2841222"/>
            <a:ext cx="12700" cy="9049417"/>
          </a:xfrm>
          <a:prstGeom prst="bentConnector3">
            <a:avLst>
              <a:gd name="adj1" fmla="val 1800000"/>
            </a:avLst>
          </a:prstGeom>
          <a:ln w="22225">
            <a:solidFill>
              <a:srgbClr val="02355A"/>
            </a:solidFill>
            <a:headEnd type="oval"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058BB28F-B3C4-241F-51D9-6B9A6C5D832E}"/>
              </a:ext>
            </a:extLst>
          </p:cNvPr>
          <p:cNvCxnSpPr>
            <a:cxnSpLocks/>
          </p:cNvCxnSpPr>
          <p:nvPr userDrawn="1"/>
        </p:nvCxnSpPr>
        <p:spPr>
          <a:xfrm rot="16200000" flipH="1">
            <a:off x="6294244" y="1124443"/>
            <a:ext cx="12700" cy="9049417"/>
          </a:xfrm>
          <a:prstGeom prst="bentConnector3">
            <a:avLst>
              <a:gd name="adj1" fmla="val 2769236"/>
            </a:avLst>
          </a:prstGeom>
          <a:ln w="22225" cap="rnd">
            <a:solidFill>
              <a:srgbClr val="02355A"/>
            </a:solidFill>
            <a:headEnd type="oval"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36">
            <a:extLst>
              <a:ext uri="{FF2B5EF4-FFF2-40B4-BE49-F238E27FC236}">
                <a16:creationId xmlns:a16="http://schemas.microsoft.com/office/drawing/2014/main" id="{9713158F-8810-66D4-768E-CBBC238CE34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467848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36">
            <a:extLst>
              <a:ext uri="{FF2B5EF4-FFF2-40B4-BE49-F238E27FC236}">
                <a16:creationId xmlns:a16="http://schemas.microsoft.com/office/drawing/2014/main" id="{2396E205-D7EC-5B8B-C662-D776223185C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57362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6">
            <a:extLst>
              <a:ext uri="{FF2B5EF4-FFF2-40B4-BE49-F238E27FC236}">
                <a16:creationId xmlns:a16="http://schemas.microsoft.com/office/drawing/2014/main" id="{292F6024-F61C-4204-37DB-DAD42342B0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432808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8BF3F9C-F0C7-4109-DB00-AF74113D61B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70898" y="1993900"/>
            <a:ext cx="685800" cy="687388"/>
          </a:xfrm>
        </p:spPr>
        <p:txBody>
          <a:bodyPr anchor="ctr" anchorCtr="0"/>
          <a:lstStyle>
            <a:lvl1pPr algn="r">
              <a:defRPr lang="en-US" sz="3800" b="0" kern="1200" spc="-145" dirty="0" smtClean="0">
                <a:solidFill>
                  <a:srgbClr val="EC9F0B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D37CBEA-5986-8685-64C5-183A3630D19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695452" y="1993900"/>
            <a:ext cx="685800" cy="687388"/>
          </a:xfrm>
        </p:spPr>
        <p:txBody>
          <a:bodyPr anchor="ctr" anchorCtr="0"/>
          <a:lstStyle>
            <a:lvl1pPr algn="r">
              <a:defRPr lang="en-US" sz="3800" b="0" kern="1200" spc="-145" dirty="0" smtClean="0">
                <a:solidFill>
                  <a:srgbClr val="3680CE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0075EE09-9833-7B6A-B2A7-B69759074A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720006" y="1993900"/>
            <a:ext cx="685800" cy="687388"/>
          </a:xfrm>
        </p:spPr>
        <p:txBody>
          <a:bodyPr anchor="ctr" anchorCtr="0"/>
          <a:lstStyle>
            <a:lvl1pPr marL="0" algn="r" defTabSz="457200" rtl="0" eaLnBrk="1" latinLnBrk="0" hangingPunct="1">
              <a:defRPr lang="en-US" sz="3800" b="0" kern="1200" spc="-145" dirty="0" smtClean="0">
                <a:solidFill>
                  <a:srgbClr val="5D910D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7D74A55F-30E7-13F2-182C-700DAD28FC0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730492" y="1993900"/>
            <a:ext cx="685800" cy="687388"/>
          </a:xfrm>
        </p:spPr>
        <p:txBody>
          <a:bodyPr anchor="ctr" anchorCtr="0"/>
          <a:lstStyle>
            <a:lvl1pPr marL="0" algn="r" defTabSz="457200" rtl="0" eaLnBrk="1" latinLnBrk="0" hangingPunct="1">
              <a:defRPr lang="en-US" sz="3800" b="0" kern="1200" spc="-145" dirty="0" smtClean="0">
                <a:solidFill>
                  <a:srgbClr val="0F440E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61863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s + Copy - Dr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8" name="Chart Placeholder 10">
            <a:extLst>
              <a:ext uri="{FF2B5EF4-FFF2-40B4-BE49-F238E27FC236}">
                <a16:creationId xmlns:a16="http://schemas.microsoft.com/office/drawing/2014/main" id="{36135DED-36D8-99A2-BEEE-C339F63E6A0A}"/>
              </a:ext>
            </a:extLst>
          </p:cNvPr>
          <p:cNvSpPr>
            <a:spLocks noGrp="1"/>
          </p:cNvSpPr>
          <p:nvPr>
            <p:ph type="chart" sz="quarter" idx="49"/>
          </p:nvPr>
        </p:nvSpPr>
        <p:spPr>
          <a:xfrm>
            <a:off x="304796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7C648F1-B735-FA9C-BE4E-ED579776AE4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04800" y="4419601"/>
            <a:ext cx="3657584" cy="1349374"/>
          </a:xfrm>
          <a:solidFill>
            <a:srgbClr val="3680CE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391085A7-EBBF-EF8B-5149-D4D78AF6BD74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267186" y="4419601"/>
            <a:ext cx="3657613" cy="1349374"/>
          </a:xfrm>
          <a:solidFill>
            <a:srgbClr val="3680CE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CCF2C88-E784-B887-29C6-C86ABDAE698A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229600" y="4419601"/>
            <a:ext cx="3657595" cy="1349374"/>
          </a:xfrm>
          <a:solidFill>
            <a:srgbClr val="3680CE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hart Placeholder 10">
            <a:extLst>
              <a:ext uri="{FF2B5EF4-FFF2-40B4-BE49-F238E27FC236}">
                <a16:creationId xmlns:a16="http://schemas.microsoft.com/office/drawing/2014/main" id="{26CFC927-54B7-C5B7-E60C-38D6EE901D32}"/>
              </a:ext>
            </a:extLst>
          </p:cNvPr>
          <p:cNvSpPr>
            <a:spLocks noGrp="1"/>
          </p:cNvSpPr>
          <p:nvPr>
            <p:ph type="chart" sz="quarter" idx="53"/>
          </p:nvPr>
        </p:nvSpPr>
        <p:spPr>
          <a:xfrm>
            <a:off x="4258242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10">
            <a:extLst>
              <a:ext uri="{FF2B5EF4-FFF2-40B4-BE49-F238E27FC236}">
                <a16:creationId xmlns:a16="http://schemas.microsoft.com/office/drawing/2014/main" id="{E65CED6F-0B77-30C6-E22C-B8883C7FCB67}"/>
              </a:ext>
            </a:extLst>
          </p:cNvPr>
          <p:cNvSpPr>
            <a:spLocks noGrp="1"/>
          </p:cNvSpPr>
          <p:nvPr>
            <p:ph type="chart" sz="quarter" idx="54"/>
          </p:nvPr>
        </p:nvSpPr>
        <p:spPr>
          <a:xfrm>
            <a:off x="8229600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CAB205B-7C1F-D7A8-3195-63BC129638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CB2AD6C-5A9B-8507-463D-FF5557344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59265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-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026F0-9A71-4943-65F5-E58B0C965B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0F67654-CF18-C3B4-4680-991D50FC0D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84C1C78-E80E-CE37-55BF-58BA7EFEC2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3F3F8FA-B30E-7AC5-CF2D-2A2C4C6FC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3137B60-E4D6-4FD2-452F-AD9D3FECC74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766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2030FF7A-E0AE-C652-5648-E29D0838184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766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C63A6B7-9DBF-037C-DD66-D4DBFC1C28E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8C4DBECC-B53C-2396-C7B9-9A2426CCBF9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84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F238CD9-CBB1-200B-EEB7-AFFDC9E7C81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512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DAC83664-26A4-BA40-BB5D-4F5C9AF4742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512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74035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-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7F4FE5B-5F8E-E216-8BAC-205762A75B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4F50471-D763-CA74-F405-ACED46EF9C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7971E76-12A2-661B-FACD-6C21237167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DA9835B-7401-6A30-DB0D-556D82CC1C6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D93165F-4D89-0A5D-42C0-4B0473883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766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9E55602C-2E66-B61E-5328-5197ECE6FB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7660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B8970E3-7DB7-69DE-D268-492514798D2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CB0A2EA7-5E6B-6FF9-6A4C-514C001B504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840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8CB30A6-5EBD-6EB9-4006-EA1B753AF36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512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9ED78051-C642-9122-8309-5C444844152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512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95231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83D448A-6F6D-AC3B-84E0-08CFA264E6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5BB5861-B329-94C3-77C3-73ACFD6B3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0783CDD-F837-985F-76FF-3AB1E77A7D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97ACC2D7-BA04-CC20-035A-4772F0350B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5F31268-C508-3A95-9A32-51868208C0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766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FE2062E-A5C1-AAEA-E6C1-24379AAE24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766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DD994C4-6938-6D1F-0427-0B49992B19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2B57E41C-690C-87FE-F584-1CE0ECBACCF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84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A951E57E-B01C-4174-8B55-EE0BDDF568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512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BB75A417-2475-713F-DF45-707F7C024F0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512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24643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C242FB5-CA88-5E19-554B-3FD70267B219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0F440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6DC08E4-2FCD-7E6B-9E00-26ABFC93A4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847AB5-08EA-07FD-0B81-21C9387195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E70F598-C502-C221-1607-85AB67ABC5F0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0F67654-CF18-C3B4-4680-991D50FC0D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08770D10-DB1B-82BC-4773-84D65D9AB0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D3018F0D-82E2-3CE3-117E-EA35207570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6D03C6E-A2E1-A64B-59C5-392BB03CC1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5D910D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5D910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5D910D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5D910D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5D910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B86542C-5E5D-6CE9-9E99-34153337B8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114FD4-D5F5-3D03-6669-3F48F8814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892F1AEB-8046-A2D4-30CA-7197BC53E8B3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6CD31BC9-DEED-705E-596F-90F3784F50F8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4A59ABE3-4718-4CF9-913B-381023AB3DF7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5BA0F92C-6587-9C26-0375-0E086FC9C6AA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84095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ntent + Photo -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880ABD7-63A3-149D-EFF7-B32FDE7C29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202B41A-200F-AD75-559D-2217CB9A65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E892A7C-B52D-3C5E-8BC0-444AB8B58F85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1BE445-FE6F-80E5-97A3-05F180D85E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0FC361C-D19E-353F-1EEF-25A27245D0FD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5578B12E-AFB0-AB96-9625-C82B6F6865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2F6D3F89-0198-D2ED-6F48-832A6A88EF9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DCE98802-78D1-57AB-ECF7-FEEAD05FF7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C2C2217-6493-1FAC-9488-2033B835EAA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58227F53-8006-920F-512B-FC96A76B02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F4A8350-CD02-3A22-20B6-716A895097DF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BAB2F5A-F69D-27C9-B35B-A62B35F9ADA2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ECD4345-CE30-964A-B676-BF420540755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F4C02C5-9B59-E560-D00D-327EEC4E8C55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60557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2355A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540727B-F520-7900-672F-2AE2EA4DF7DF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E5F4F30-8B1E-9993-2C50-CF6FB44FFD2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CDD988B-E6EC-CC8B-CF48-8C80BF5B48AD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378A170-D080-4E7A-16C2-AC8BB5C3B870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7C48599-CAA8-3C50-B2DF-CBEC849120D0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646421C-680B-D6F3-EDE4-2312A06637F5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3C45598-0980-503B-87A8-7650A912A08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DCBDAE0-AA09-5054-138B-409141B7D10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C3D0C52-4CC2-A048-13D4-5776B54F266F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C483DFD-A2F0-7C6D-F6CE-5193DFC68615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DFC4CE8-B62F-59A9-7A2F-49DD1D9C6673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5AFB3BF-A271-82FE-4D36-EAE5F93F252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F6E9154-5830-9D46-6B9B-BB42A85E36CF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FE52738-0331-142A-C6C3-C13B87BD560D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8E9A24B-5A3A-5C2F-5158-E71D2BD446BA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DD44C41-B6D0-5752-B686-0AFA18130814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58839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C6ADB45-91F8-32E5-F50D-E393F14F3E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DA0642C-B147-E66E-9356-BF91633B63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58F267-C587-52A9-0895-3E4CE0DA016F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E05E962-95EF-2CCF-FD9A-ECC80C1E67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25E8A4C-75B3-412F-228E-95549DC6F35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B2D6D21F-7FDC-0675-E9BF-D1D2D29BAF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CE11E3FC-67CF-2551-D67F-E05C32CAF4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874BE8BB-0D0A-465A-ED82-FBC87AD814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6ACB5F87-ADB0-2792-060F-C23FAB8C45D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D2327EE9-30F6-5C8B-92DA-A3DA5FA456A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535CEC-D80E-8E74-90E9-798ED8ADC861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971BC4E-E41E-458B-BE9D-BE383375DDBD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7BFB918-C2D6-C89D-ACFC-822FA25B59B1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6A19E87-5517-9FC2-7EDE-67316D02951D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268815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201E17-BEDC-EF1C-D1DD-24457F1043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FD3CEA-4696-D508-A304-19B4E6767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042D94A-C6F1-39C6-2A60-C21520457EA7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62DA099-CF4C-7378-4B67-8AD56B1F14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527E67-33B7-6A94-DA86-E9B86E7875A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AA7FA153-3ABD-09A6-8E96-5AE3D48874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4169C3F-C927-C052-D3FA-867BC006B1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0068685E-936C-9395-A7AE-9C1E881D1BF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C8CFD94-BF0D-BC97-4B00-68431E7044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86F0CE13-FA16-09C7-8A7B-F8A67977846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72B54E4-ABF3-072E-1D52-7095B67A0F39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E6F392C-39B5-F9D6-40D4-66E45902277B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BBC0A86-9583-8896-C62D-2E47715D971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C5F500B-5795-2B9B-DC30-5BE2330E102F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890638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+Bullet - Drink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3604F9-8155-6A95-B879-575B7F4343C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4A3B-669E-BFBB-F054-74A96CD9BD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335024"/>
            <a:ext cx="11582400" cy="2209800"/>
          </a:xfrm>
        </p:spPr>
        <p:txBody>
          <a:bodyPr/>
          <a:lstStyle>
            <a:lvl1pPr>
              <a:lnSpc>
                <a:spcPts val="5400"/>
              </a:lnSpc>
              <a:spcBef>
                <a:spcPts val="0"/>
              </a:spcBef>
              <a:defRPr lang="en-US" sz="6000" b="0" i="0" kern="1200" smtClean="0">
                <a:solidFill>
                  <a:srgbClr val="3680CE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7819E8-720B-BE5F-35CF-65D1F127F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3825875"/>
            <a:ext cx="11582400" cy="1943100"/>
          </a:xfrm>
        </p:spPr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rgbClr val="71A9E3"/>
                </a:solidFill>
                <a:latin typeface="+mn-lt"/>
              </a:defRPr>
            </a:lvl2pPr>
            <a:lvl3pPr>
              <a:defRPr>
                <a:solidFill>
                  <a:srgbClr val="71A9E3"/>
                </a:solidFill>
                <a:latin typeface="+mn-lt"/>
              </a:defRPr>
            </a:lvl3pPr>
            <a:lvl4pPr>
              <a:defRPr>
                <a:solidFill>
                  <a:srgbClr val="71A9E3"/>
                </a:solidFill>
                <a:latin typeface="+mn-lt"/>
              </a:defRPr>
            </a:lvl4pPr>
            <a:lvl5pPr>
              <a:defRPr>
                <a:solidFill>
                  <a:srgbClr val="71A9E3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5B01BE4-EEE1-75CD-8758-B2ADD247FC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247954-3C0B-B902-34FA-13B9AD74C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06EF82-6A3D-1633-4259-573E57F1B435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903786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+Bullet -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3604F9-8155-6A95-B879-575B7F4343C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4A3B-669E-BFBB-F054-74A96CD9BD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334527"/>
            <a:ext cx="11582400" cy="2209800"/>
          </a:xfrm>
        </p:spPr>
        <p:txBody>
          <a:bodyPr/>
          <a:lstStyle>
            <a:lvl1pPr>
              <a:lnSpc>
                <a:spcPts val="5400"/>
              </a:lnSpc>
              <a:spcBef>
                <a:spcPts val="0"/>
              </a:spcBef>
              <a:defRPr lang="en-US" sz="6000" b="0" i="0" kern="1200" smtClean="0">
                <a:solidFill>
                  <a:srgbClr val="3680CE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</a:t>
            </a:r>
          </a:p>
          <a:p>
            <a:pPr lvl="0"/>
            <a:r>
              <a:rPr lang="en-US"/>
              <a:t>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7819E8-720B-BE5F-35CF-65D1F127F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3825875"/>
            <a:ext cx="11582400" cy="194310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5B01BE4-EEE1-75CD-8758-B2ADD247FC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247954-3C0B-B902-34FA-13B9AD74C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28369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rgbClr val="02355A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rgbClr val="02355A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02355A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rgbClr val="02355A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931363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51775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D493E6C-673E-8ADB-07B5-8A9A583E28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20E534B-1328-9573-C510-DF01837DD5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2B745233-8242-6501-BDD1-6A066F19F8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09716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rgbClr val="5E90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DF40BA9-9DA8-1704-98B3-11192E6394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171AAEC-79CE-8340-6FC6-574C7C43AF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A060F503-A312-5007-5FB9-D49F373B4C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06663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-To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4ABE5B3-470A-4DEB-9F72-3889582A4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269740"/>
            <a:ext cx="5187687" cy="4009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800" y="5768975"/>
            <a:ext cx="518769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0"/>
            <a:ext cx="5187691" cy="439737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 sz="14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 sz="12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 sz="11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A33EA97-DEBE-C07E-0A6E-2C52FBDC8BF2}"/>
              </a:ext>
            </a:extLst>
          </p:cNvPr>
          <p:cNvSpPr/>
          <p:nvPr userDrawn="1"/>
        </p:nvSpPr>
        <p:spPr>
          <a:xfrm>
            <a:off x="6095998" y="0"/>
            <a:ext cx="6095999" cy="6858000"/>
          </a:xfrm>
          <a:prstGeom prst="rect">
            <a:avLst/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DE32CAC8-7CBB-93A4-FE78-B76DE7A0515E}"/>
              </a:ext>
            </a:extLst>
          </p:cNvPr>
          <p:cNvSpPr txBox="1">
            <a:spLocks/>
          </p:cNvSpPr>
          <p:nvPr userDrawn="1"/>
        </p:nvSpPr>
        <p:spPr>
          <a:xfrm>
            <a:off x="6400797" y="5768975"/>
            <a:ext cx="5486405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DDCEEA0-CC92-ADFC-3AE4-D23CA67105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00794" y="1219200"/>
            <a:ext cx="5187689" cy="439737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1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200">
                <a:solidFill>
                  <a:schemeClr val="bg1"/>
                </a:solidFill>
                <a:latin typeface="+mn-lt"/>
              </a:defRPr>
            </a:lvl4pPr>
            <a:lvl5pPr>
              <a:defRPr sz="11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Triangle 22">
            <a:extLst>
              <a:ext uri="{FF2B5EF4-FFF2-40B4-BE49-F238E27FC236}">
                <a16:creationId xmlns:a16="http://schemas.microsoft.com/office/drawing/2014/main" id="{F30ADE9A-4C5E-2D90-A385-B666A1B8DB8E}"/>
              </a:ext>
            </a:extLst>
          </p:cNvPr>
          <p:cNvSpPr/>
          <p:nvPr userDrawn="1"/>
        </p:nvSpPr>
        <p:spPr>
          <a:xfrm rot="5400000">
            <a:off x="5670305" y="3257223"/>
            <a:ext cx="851390" cy="376122"/>
          </a:xfrm>
          <a:prstGeom prst="triangle">
            <a:avLst>
              <a:gd name="adj" fmla="val 50766"/>
            </a:avLst>
          </a:prstGeom>
          <a:solidFill>
            <a:schemeClr val="tx2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FF21BC3-6CCA-C456-3B0A-6B16ED2FB3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00794" y="199945"/>
            <a:ext cx="5187690" cy="429397"/>
          </a:xfrm>
        </p:spPr>
        <p:txBody>
          <a:bodyPr/>
          <a:lstStyle>
            <a:lvl1pPr>
              <a:defRPr lang="en-US" sz="3200" b="1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B0261DA-335E-CD8E-DD2C-DA8B5FFADE6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061569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1158240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EF52B395-E324-C350-A724-74D5490A02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BC1DA6A-7A47-6758-B9D8-709144560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25670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Universal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145798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540727B-F520-7900-672F-2AE2EA4DF7DF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E5F4F30-8B1E-9993-2C50-CF6FB44FFD2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CDD988B-E6EC-CC8B-CF48-8C80BF5B48AD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378A170-D080-4E7A-16C2-AC8BB5C3B870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7C48599-CAA8-3C50-B2DF-CBEC849120D0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646421C-680B-D6F3-EDE4-2312A06637F5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3C45598-0980-503B-87A8-7650A912A08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DCBDAE0-AA09-5054-138B-409141B7D10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C3D0C52-4CC2-A048-13D4-5776B54F266F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C483DFD-A2F0-7C6D-F6CE-5193DFC68615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DFC4CE8-B62F-59A9-7A2F-49DD1D9C6673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5AFB3BF-A271-82FE-4D36-EAE5F93F252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F6E9154-5830-9D46-6B9B-BB42A85E36CF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FE52738-0331-142A-C6C3-C13B87BD560D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8E9A24B-5A3A-5C2F-5158-E71D2BD446BA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DD44C41-B6D0-5752-B686-0AFA18130814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216294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162296" y="1219200"/>
            <a:ext cx="8724904" cy="4419600"/>
          </a:xfrm>
        </p:spPr>
        <p:txBody>
          <a:bodyPr/>
          <a:lstStyle>
            <a:lvl1pPr marL="182880" indent="-365760">
              <a:buFont typeface="+mj-lt"/>
              <a:buAutoNum type="arabicPeriod"/>
              <a:defRPr sz="2800" b="1">
                <a:solidFill>
                  <a:schemeClr val="accent1"/>
                </a:solidFill>
                <a:latin typeface="+mn-lt"/>
              </a:defRPr>
            </a:lvl1pPr>
            <a:lvl2pPr>
              <a:defRPr sz="24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1F792B6-783B-824E-0F33-27BAD31A4C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5E03D8E-722C-7E9B-4CF6-3BB3E20CF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11843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2DBE87-4405-F3CD-9E1A-0AB2F0FA1A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1688" y="1219200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chemeClr val="accent1"/>
                </a:solidFill>
                <a:latin typeface="+mn-lt"/>
              </a:defRPr>
            </a:lvl2pPr>
          </a:lstStyle>
          <a:p>
            <a:pPr lvl="1"/>
            <a:r>
              <a:rPr lang="en-US"/>
              <a:t>#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C280F5E-74CC-98D2-7A49-093D2CF6B2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1688" y="2574888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chemeClr val="accent1"/>
                </a:solidFill>
                <a:latin typeface="+mn-lt"/>
              </a:defRPr>
            </a:lvl2pPr>
          </a:lstStyle>
          <a:p>
            <a:pPr lvl="1"/>
            <a:r>
              <a:rPr lang="en-US"/>
              <a:t>#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75DAA2E-1A7B-0209-4979-AE7C94A0367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1688" y="3930576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chemeClr val="accent1"/>
                </a:solidFill>
                <a:latin typeface="+mn-lt"/>
              </a:defRPr>
            </a:lvl2pPr>
          </a:lstStyle>
          <a:p>
            <a:pPr lvl="1"/>
            <a:r>
              <a:rPr lang="en-US"/>
              <a:t>#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D78311-4CC6-636F-837D-EEA883F21D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1338" y="1219200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B441E31-BF1D-AA0C-C5FB-DF20E29DB5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51338" y="2574888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1F78DB37-E4D6-9295-325E-6FFD2BE7F7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51338" y="3930576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5447B70-0D32-5005-C25E-A71D7563DC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8E49524-CA80-7F34-D4E5-CC7E4BC57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60712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5638800" cy="4419600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874AD4FF-798E-DDD9-414C-962521CD9A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9028C9D-C44D-C775-287E-01E9AE906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96764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5638800" cy="4419600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48399" y="248594"/>
            <a:ext cx="5638802" cy="5390206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47B98CD-AC1E-E6C0-C7B4-1B8FD18FCA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563880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77D8C6F-44C5-DAF3-23C9-0323B4C1BF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48594"/>
            <a:ext cx="5638800" cy="475306"/>
          </a:xfrm>
        </p:spPr>
        <p:txBody>
          <a:bodyPr anchor="t" anchorCtr="0"/>
          <a:lstStyle/>
          <a:p>
            <a:r>
              <a:rPr lang="en-US"/>
              <a:t>Click to title</a:t>
            </a:r>
          </a:p>
        </p:txBody>
      </p:sp>
    </p:spTree>
    <p:extLst>
      <p:ext uri="{BB962C8B-B14F-4D97-AF65-F5344CB8AC3E}">
        <p14:creationId xmlns:p14="http://schemas.microsoft.com/office/powerpoint/2010/main" val="22861295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97751" y="1219200"/>
            <a:ext cx="5489449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Chart Placeholder 3">
            <a:extLst>
              <a:ext uri="{FF2B5EF4-FFF2-40B4-BE49-F238E27FC236}">
                <a16:creationId xmlns:a16="http://schemas.microsoft.com/office/drawing/2014/main" id="{00B4BC49-B99B-1177-E500-12757729D6F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04800" y="1219200"/>
            <a:ext cx="5489448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5204B2-C25E-54D8-44CC-ABA38DAF6914}"/>
              </a:ext>
            </a:extLst>
          </p:cNvPr>
          <p:cNvCxnSpPr/>
          <p:nvPr userDrawn="1"/>
        </p:nvCxnSpPr>
        <p:spPr>
          <a:xfrm>
            <a:off x="6096000" y="1219200"/>
            <a:ext cx="0" cy="441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3BB8363-5EEA-956C-441D-06AAB0B850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1158240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C373C31-DBB3-2208-A521-999FF953D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1158240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80779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4" name="Picture Placeholder 50">
            <a:extLst>
              <a:ext uri="{FF2B5EF4-FFF2-40B4-BE49-F238E27FC236}">
                <a16:creationId xmlns:a16="http://schemas.microsoft.com/office/drawing/2014/main" id="{E1158365-DD41-790A-BEFB-4191AF8CA27A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 flipH="1">
            <a:off x="301752" y="701964"/>
            <a:ext cx="3601379" cy="541793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Picture Placeholder 50">
            <a:extLst>
              <a:ext uri="{FF2B5EF4-FFF2-40B4-BE49-F238E27FC236}">
                <a16:creationId xmlns:a16="http://schemas.microsoft.com/office/drawing/2014/main" id="{648A33B1-F67C-635E-1912-D01AEF232C52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>
          <a:xfrm flipH="1">
            <a:off x="4222376" y="3529321"/>
            <a:ext cx="3769455" cy="259057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50">
            <a:extLst>
              <a:ext uri="{FF2B5EF4-FFF2-40B4-BE49-F238E27FC236}">
                <a16:creationId xmlns:a16="http://schemas.microsoft.com/office/drawing/2014/main" id="{9477BE40-9125-CCF0-D9F2-A29731F77AE4}"/>
              </a:ext>
            </a:extLst>
          </p:cNvPr>
          <p:cNvSpPr>
            <a:spLocks noGrp="1"/>
          </p:cNvSpPr>
          <p:nvPr>
            <p:ph type="pic" sz="quarter" idx="82"/>
          </p:nvPr>
        </p:nvSpPr>
        <p:spPr>
          <a:xfrm flipH="1">
            <a:off x="4209606" y="701964"/>
            <a:ext cx="3769455" cy="257068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50">
            <a:extLst>
              <a:ext uri="{FF2B5EF4-FFF2-40B4-BE49-F238E27FC236}">
                <a16:creationId xmlns:a16="http://schemas.microsoft.com/office/drawing/2014/main" id="{56FCF207-0EA6-4BF7-0A42-068E64A0C6F5}"/>
              </a:ext>
            </a:extLst>
          </p:cNvPr>
          <p:cNvSpPr>
            <a:spLocks noGrp="1"/>
          </p:cNvSpPr>
          <p:nvPr>
            <p:ph type="pic" sz="quarter" idx="83"/>
          </p:nvPr>
        </p:nvSpPr>
        <p:spPr>
          <a:xfrm flipH="1">
            <a:off x="8283374" y="701964"/>
            <a:ext cx="3601379" cy="541793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CBEF2E3-ABE2-A4E6-B1FD-D8E2470217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037392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304800" y="1219200"/>
            <a:ext cx="11582401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BDFE36E9-714D-992A-9553-63C3133B38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33F7F31-4B83-C3E8-EB1D-FD6C87B2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73386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48430F1B-04C8-37C5-DB54-6BC657AC40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3680CE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3680CE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3680CE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A2235FC-2BFF-D2F6-B24B-8A0CB7A0369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E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554811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48430F1B-04C8-37C5-DB54-6BC657AC40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3680CE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14579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145798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 marL="0" indent="0">
              <a:buNone/>
              <a:defRPr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A561B79-09DB-0555-DF84-ED0F621263A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418517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Takeaways Dr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41480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chemeClr val="accent5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4A42F8D-FD45-1020-AE77-8199A0C7654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719D273-2584-873C-0535-6C85EA591315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B577CC8-E137-F371-4009-884CF36161C4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4CAC497-AF23-588E-91F9-154DE741A891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7BEA982-B3FB-D392-3292-2CA950BD90F0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6EBD14B-3DDF-E332-200E-E7308C2C1AE0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60B773D-90CF-5739-25AD-7F426773B3F3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ED92367-2C65-6CBC-746B-98FEA4E55E5A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D90E16E-CE31-49A7-461B-D7A0B24E83A2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1C10AC1-0A43-8631-16CD-7764F1C7857E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43EA04E-7926-0CA3-309A-E149CA3360E5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C0F44EE-08C7-80E6-562B-899667C69CFD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CA233AD-D8F8-1A88-D470-F569F2A1D8FC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70B00F3-F0B6-5650-606A-C84EE3FFD33A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DE820D6-2006-4CDA-7018-0C4035E266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17D2BBE-9F1F-FCFD-9C6A-89EDE2831FFD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025700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72B886-E61E-7BB4-B0DD-DC2FF24EAF43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0918268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Takeaways Drink">
    <p:bg>
      <p:bgPr>
        <a:solidFill>
          <a:srgbClr val="FB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chemeClr val="accent6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chemeClr val="accent6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C77307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C77307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C7730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E60B6A-192B-3529-D749-1EF72AE9094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658924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FCBFFC2-1D04-EF48-A388-95DB2B2160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B3D484A-938C-B017-C04F-A83D0A578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9819057-E5D7-F5B5-80B8-9D7ACF1BA54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5D910D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CD7C8C64-7DA7-695D-77FD-154A303646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5D910D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0528AFB-3CA6-BE65-81A7-B0D1C091938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911907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50AA3F9-21A5-E27D-8950-EB829485AA0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99C0A931-72BC-0356-B06E-B975330614D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59207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EB00219-BEBD-5C89-B7A2-8BF2924CA0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4670910-9A81-2D2D-9703-E4C8215326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5B92538-B221-62A4-867D-B0ABFAAFF5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52EE75-7A55-5193-C356-31AD2386985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4992151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Food">
    <p:bg>
      <p:bgPr>
        <a:solidFill>
          <a:srgbClr val="FA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C77307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A9D29EE-A3C0-3200-A5BC-DB78A9C5B0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C77307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14A8199-D7C3-8C1A-9917-6F4FFF77C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C7730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36CBAC9C-3270-8C3D-55F7-B20DEA5AB35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345DEAD8-0715-5FF7-F4B8-BBD1F23C74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D7025DC-7B04-F2E8-D156-8564266B8B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AD77FFD-F9B9-3CCA-A145-F23B5D2C2FAC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458664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BDB4D7A-57BB-0E11-FC7F-92013C566F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931805B-212C-F549-0DAA-2648C21BD4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A81A6BC9-BF07-A15D-90CE-D757CA4F2A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A223603F-1687-4839-9217-168184E33EC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DDEBC29-7846-F426-C9E4-2F047B8584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DF73C0-7D1E-F8EF-D558-C4C0DDD9D397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467106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-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D77DB0AB-4EF4-F746-7298-F6C3E404002A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7FD43D8-0728-76B9-5BEC-721CBA413DBC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172637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-Food">
    <p:bg>
      <p:bgPr>
        <a:solidFill>
          <a:srgbClr val="FA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Diagonal Corners Rounded 6">
            <a:extLst>
              <a:ext uri="{FF2B5EF4-FFF2-40B4-BE49-F238E27FC236}">
                <a16:creationId xmlns:a16="http://schemas.microsoft.com/office/drawing/2014/main" id="{42EAE78A-A977-01CA-A116-2B9E201DFA70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B81C1A-BF3A-436C-E104-9E52FC208E4A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397359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-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Diagonal Corners Rounded 6">
            <a:extLst>
              <a:ext uri="{FF2B5EF4-FFF2-40B4-BE49-F238E27FC236}">
                <a16:creationId xmlns:a16="http://schemas.microsoft.com/office/drawing/2014/main" id="{AF816B51-0B2B-07F2-FCB3-11207A3D0955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Gilroy Medium" panose="00000600000000000000" pitchFamily="50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EF998D-D59B-1F7C-942E-1E40A1E67A5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400592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F440D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F44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F440D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0F44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F14B9A5-FB58-9A71-6414-BEBF4B1F0F2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095ECE8-5DA8-F866-3420-5F3CE342DE8A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0069D75-D039-B5DD-8AD3-576FE5416A95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B98D7F-52AD-8D84-3521-2E7F8620335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A7BD8B7-0EA8-211E-0FA4-389B9680477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100246A-25E4-0F73-A740-AEC49B4E3DA6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717F129-3242-92C8-6057-D90FE763DCA2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35BE8FC-4451-27D0-D345-3D31B4565E8F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F8A8E7A-F1F4-E928-A267-92C93713E35D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2A9BE32-7A76-0026-F37A-EAA381109217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28412D1-5B92-3139-AE86-D49C38CEAD86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3CA038C-A6AC-33E5-7729-8CDB678B8FB2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7DFCD51-E558-F7F4-2E02-88E9E9FD9BF1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A992AE7-9A4C-8593-75B9-D2606DF865E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E9C2836-EE8B-CF72-4233-9EC9DDED8D5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BA64C47-A537-F05D-E667-A1CF358340B8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439919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A3BD900-1908-6DF8-F80E-38A643313A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56481" y="304800"/>
            <a:ext cx="3688079" cy="5981699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49A6E31-E5CB-3F28-59B9-3D96D39BFE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37601" y="337978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AE5E181B-E79B-6204-7F22-50CFDFB5F3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37601" y="30130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5ECEBC1-4D75-6F0E-AE6A-47DDF1DEDD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409448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613EDE5B-D6DF-5E1F-7A8A-72E394E88D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409448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FBFF9F1-6BAC-1DF0-94BB-EBDBD5832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409448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13F284-07F6-49C2-63C6-86FCBE69BB8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4810661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C019705-392E-1513-A73C-8B73FBF443F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8399" y="304801"/>
            <a:ext cx="5638801" cy="5829300"/>
          </a:xfrm>
          <a:prstGeom prst="roundRect">
            <a:avLst>
              <a:gd name="adj" fmla="val 2768"/>
            </a:avLst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1219200"/>
            <a:ext cx="5638799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tx2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3379788"/>
            <a:ext cx="5638800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27CE26B-FE56-D52E-D936-DE13DCDBD4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4029076"/>
            <a:ext cx="5638799" cy="2109258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  <a:latin typeface="+mn-lt"/>
              </a:defRPr>
            </a:lvl1pPr>
            <a:lvl2pPr>
              <a:defRPr sz="1400">
                <a:solidFill>
                  <a:schemeClr val="tx2"/>
                </a:solidFill>
                <a:latin typeface="+mn-lt"/>
              </a:defRPr>
            </a:lvl2pPr>
            <a:lvl3pPr>
              <a:defRPr sz="1200">
                <a:solidFill>
                  <a:schemeClr val="tx2"/>
                </a:solidFill>
                <a:latin typeface="+mn-lt"/>
              </a:defRPr>
            </a:lvl3pPr>
            <a:lvl4pPr>
              <a:defRPr sz="1100">
                <a:solidFill>
                  <a:schemeClr val="tx2"/>
                </a:solidFill>
                <a:latin typeface="+mn-lt"/>
              </a:defRPr>
            </a:lvl4pPr>
            <a:lvl5pPr>
              <a:defRPr sz="105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824375-C552-8786-CB9F-47605F890443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3169422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Drinks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4CDE6CA2-CEA1-4A7E-3B9D-7B997AF6C8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796" y="533584"/>
            <a:ext cx="842066" cy="749808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tx2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F7A221-4131-F79E-81DD-572AEAE896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750146-5407-885A-1DA5-4D48D4540FB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226431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Food">
    <p:bg>
      <p:bgPr>
        <a:solidFill>
          <a:srgbClr val="EB9F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accent5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CBBC66A-E42E-141A-B875-8977010259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795" y="415635"/>
            <a:ext cx="843534" cy="74980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54F07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4285786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F44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rgbClr val="0F440D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F44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F440D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BDDDE28-076A-30B3-3A87-D22CCDE4209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2303132-93C3-B58B-51CF-9C0FED7206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796" y="498078"/>
            <a:ext cx="658705" cy="7483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4F7EF99-1424-2925-FC60-5D8A1725D73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0F44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02630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Drink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2355A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05E3C74-62A8-FD83-1DC8-BB3B9116668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9FE147A-DF98-1FFB-AAC8-F8BF89D19AFD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B39FBE2-FA4B-A232-3522-26410EFE3610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3B6171E-59A2-A3AC-0402-04B662D42C9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A3FEE7-C19E-73E0-C49F-FF8172C5F6A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610849C-7A3C-015C-2A5C-03A08479A7CC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D6CC6D4-A86E-6070-ECC5-ACDCE3A45BA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65813E3-7961-976B-A998-0BDC2C6ECFF4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D79734E-875A-820A-70DC-388AD622C376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66912B5-A4C6-202F-08B2-260B73D02DEF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F454DB-2465-CD9B-766A-9BA0DFB8EA3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C3AD0AE-BE4E-88D4-065C-66A869EB01E9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3BD0447-67EF-C6A5-5442-DACAE8B3FE10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19E83C-F735-32AF-5A55-C911CB79DE37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38ACA55-05E3-DAB2-87B4-B312A957AA8B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0A2291E-CA9B-6963-80D3-02A4ABAA0649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pic>
        <p:nvPicPr>
          <p:cNvPr id="27" name="Graphic 26">
            <a:extLst>
              <a:ext uri="{FF2B5EF4-FFF2-40B4-BE49-F238E27FC236}">
                <a16:creationId xmlns:a16="http://schemas.microsoft.com/office/drawing/2014/main" id="{F30E4F8F-C6C8-F57D-0CDA-4E4AE1731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3342" b="34504"/>
          <a:stretch>
            <a:fillRect/>
          </a:stretch>
        </p:blipFill>
        <p:spPr>
          <a:xfrm>
            <a:off x="8536804" y="535326"/>
            <a:ext cx="3655196" cy="6286381"/>
          </a:xfrm>
          <a:custGeom>
            <a:avLst/>
            <a:gdLst>
              <a:gd name="connsiteX0" fmla="*/ 0 w 3655196"/>
              <a:gd name="connsiteY0" fmla="*/ 0 h 6286381"/>
              <a:gd name="connsiteX1" fmla="*/ 3655196 w 3655196"/>
              <a:gd name="connsiteY1" fmla="*/ 0 h 6286381"/>
              <a:gd name="connsiteX2" fmla="*/ 3655196 w 3655196"/>
              <a:gd name="connsiteY2" fmla="*/ 6286381 h 6286381"/>
              <a:gd name="connsiteX3" fmla="*/ 0 w 3655196"/>
              <a:gd name="connsiteY3" fmla="*/ 6286381 h 6286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5196" h="6286381">
                <a:moveTo>
                  <a:pt x="0" y="0"/>
                </a:moveTo>
                <a:lnTo>
                  <a:pt x="3655196" y="0"/>
                </a:lnTo>
                <a:lnTo>
                  <a:pt x="3655196" y="6286381"/>
                </a:lnTo>
                <a:lnTo>
                  <a:pt x="0" y="6286381"/>
                </a:lnTo>
                <a:close/>
              </a:path>
            </a:pathLst>
          </a:cu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CE548BC-7DFB-3A37-F824-E7E7F7C1D8D8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4056053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796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954F07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954F07"/>
              </a:solidFill>
              <a:latin typeface="Gilroy Medium" panose="00000600000000000000" pitchFamily="50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4262262-1774-13E8-18F1-4C24C4D042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2472" b="15247"/>
          <a:stretch>
            <a:fillRect/>
          </a:stretch>
        </p:blipFill>
        <p:spPr>
          <a:xfrm>
            <a:off x="7746460" y="406558"/>
            <a:ext cx="4445540" cy="6451443"/>
          </a:xfrm>
          <a:custGeom>
            <a:avLst/>
            <a:gdLst>
              <a:gd name="connsiteX0" fmla="*/ 0 w 4445540"/>
              <a:gd name="connsiteY0" fmla="*/ 0 h 6451443"/>
              <a:gd name="connsiteX1" fmla="*/ 4445540 w 4445540"/>
              <a:gd name="connsiteY1" fmla="*/ 0 h 6451443"/>
              <a:gd name="connsiteX2" fmla="*/ 4445540 w 4445540"/>
              <a:gd name="connsiteY2" fmla="*/ 6451443 h 6451443"/>
              <a:gd name="connsiteX3" fmla="*/ 0 w 4445540"/>
              <a:gd name="connsiteY3" fmla="*/ 6451443 h 6451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5540" h="6451443">
                <a:moveTo>
                  <a:pt x="0" y="0"/>
                </a:moveTo>
                <a:lnTo>
                  <a:pt x="4445540" y="0"/>
                </a:lnTo>
                <a:lnTo>
                  <a:pt x="4445540" y="6451443"/>
                </a:lnTo>
                <a:lnTo>
                  <a:pt x="0" y="6451443"/>
                </a:lnTo>
                <a:close/>
              </a:path>
            </a:pathLst>
          </a:cu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E64CEC-D9C3-D330-8F47-628A92E9ABC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65424000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F44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F44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F440D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4992C8F-E863-9E35-C58E-E69B29BCE7C5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6B9EA9B-B121-07D6-DA17-69EB2FC2C45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A9AC18F-D271-417A-EFA9-505D18AF9CB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21B7882-06F4-ADD5-2804-7A2EE96783B7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4B582DD-2EDF-4FCA-46E8-A9BE1CF51488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81EE541-3A99-A625-AE8A-9E917B20184A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175D5EF-626A-521A-2E7B-D8DF3327CD11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0AE6806-8CDA-A959-68E4-9D9E523B88D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B1EA4A9-59A8-31AE-35C5-449D0E5DCDE0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8D55691-267A-D5B0-6104-CEE4794CCE2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7FBE4B9-3FC4-3563-1E09-7342256D80D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3110080-68D0-8125-BAB0-39800169498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2AA7020-4374-9A5D-E4D3-D242291F033E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9B06A61-466E-A124-3708-588A6BCA7884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939B74B-0E0B-70E7-9243-E433CDBE6E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A584772-A9FF-FEF9-664D-5392156E1A77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pic>
        <p:nvPicPr>
          <p:cNvPr id="9" name="Graphic 8">
            <a:extLst>
              <a:ext uri="{FF2B5EF4-FFF2-40B4-BE49-F238E27FC236}">
                <a16:creationId xmlns:a16="http://schemas.microsoft.com/office/drawing/2014/main" id="{309C7D38-9FF8-6C4D-A76D-C1D44972AD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13016"/>
          <a:stretch>
            <a:fillRect/>
          </a:stretch>
        </p:blipFill>
        <p:spPr>
          <a:xfrm>
            <a:off x="7388774" y="512064"/>
            <a:ext cx="5035836" cy="6345936"/>
          </a:xfrm>
          <a:custGeom>
            <a:avLst/>
            <a:gdLst>
              <a:gd name="connsiteX0" fmla="*/ 0 w 5035836"/>
              <a:gd name="connsiteY0" fmla="*/ 0 h 6345936"/>
              <a:gd name="connsiteX1" fmla="*/ 5035836 w 5035836"/>
              <a:gd name="connsiteY1" fmla="*/ 0 h 6345936"/>
              <a:gd name="connsiteX2" fmla="*/ 5035836 w 5035836"/>
              <a:gd name="connsiteY2" fmla="*/ 880638 h 6345936"/>
              <a:gd name="connsiteX3" fmla="*/ 4803226 w 5035836"/>
              <a:gd name="connsiteY3" fmla="*/ 880638 h 6345936"/>
              <a:gd name="connsiteX4" fmla="*/ 4803226 w 5035836"/>
              <a:gd name="connsiteY4" fmla="*/ 6345936 h 6345936"/>
              <a:gd name="connsiteX5" fmla="*/ 0 w 5035836"/>
              <a:gd name="connsiteY5" fmla="*/ 6345936 h 6345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35836" h="6345936">
                <a:moveTo>
                  <a:pt x="0" y="0"/>
                </a:moveTo>
                <a:lnTo>
                  <a:pt x="5035836" y="0"/>
                </a:lnTo>
                <a:lnTo>
                  <a:pt x="5035836" y="880638"/>
                </a:lnTo>
                <a:lnTo>
                  <a:pt x="4803226" y="880638"/>
                </a:lnTo>
                <a:lnTo>
                  <a:pt x="4803226" y="6345936"/>
                </a:lnTo>
                <a:lnTo>
                  <a:pt x="0" y="6345936"/>
                </a:lnTo>
                <a:close/>
              </a:path>
            </a:pathLst>
          </a:cu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EE0A995-3A03-E488-2DE7-FB5CBF54FC2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0F44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417097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Drink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3680CE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3680C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3680CE"/>
              </a:solidFill>
              <a:latin typeface="Gilroy Medium" panose="00000600000000000000" pitchFamily="50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383AE73-A754-7B0F-0503-8F9A15D171DE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628" t="5197" r="60034" b="16119"/>
          <a:stretch/>
        </p:blipFill>
        <p:spPr>
          <a:xfrm>
            <a:off x="0" y="0"/>
            <a:ext cx="4610101" cy="68580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105E3C74-62A8-FD83-1DC8-BB3B9116668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9FE147A-DF98-1FFB-AAC8-F8BF89D19AFD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B39FBE2-FA4B-A232-3522-26410EFE3610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3B6171E-59A2-A3AC-0402-04B662D42C9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A3FEE7-C19E-73E0-C49F-FF8172C5F6A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610849C-7A3C-015C-2A5C-03A08479A7CC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D6CC6D4-A86E-6070-ECC5-ACDCE3A45BA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65813E3-7961-976B-A998-0BDC2C6ECFF4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D79734E-875A-820A-70DC-388AD622C376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66912B5-A4C6-202F-08B2-260B73D02DEF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F454DB-2465-CD9B-766A-9BA0DFB8EA3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C3AD0AE-BE4E-88D4-065C-66A869EB01E9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3BD0447-67EF-C6A5-5442-DACAE8B3FE10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19E83C-F735-32AF-5A55-C911CB79DE37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38ACA55-05E3-DAB2-87B4-B312A957AA8B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0A2291E-CA9B-6963-80D3-02A4ABAA0649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B0A2BE27-19D4-21C5-0677-A4371A5B178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E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4474912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954F07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954F07"/>
              </a:solidFill>
              <a:latin typeface="Gilroy Medium" panose="00000600000000000000" pitchFamily="50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CFE8701-18AC-1DDE-6FDB-A1B213C27C8A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519" t="4942" r="54239" b="11734"/>
          <a:stretch/>
        </p:blipFill>
        <p:spPr>
          <a:xfrm>
            <a:off x="0" y="0"/>
            <a:ext cx="5802284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7F8AFE4-9B9D-6946-8A8B-332A60BDCD0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739988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4800" y="1219201"/>
            <a:ext cx="1158240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C28285-F5AC-8A3D-6643-900F66675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5E28AC-C348-EE03-938F-68D9895D527D}"/>
              </a:ext>
            </a:extLst>
          </p:cNvPr>
          <p:cNvSpPr txBox="1"/>
          <p:nvPr userDrawn="1"/>
        </p:nvSpPr>
        <p:spPr>
          <a:xfrm>
            <a:off x="815009" y="657970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899845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Sustainability">
    <p:bg>
      <p:bgPr>
        <a:solidFill>
          <a:srgbClr val="0F440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5D91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5D91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5D910D"/>
              </a:solidFill>
              <a:latin typeface="Gilroy Medium" panose="00000600000000000000" pitchFamily="50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4DFCD31-76F7-5A4A-C08E-4435C05FD665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02" r="42975" b="9499"/>
          <a:stretch/>
        </p:blipFill>
        <p:spPr>
          <a:xfrm>
            <a:off x="0" y="-710334"/>
            <a:ext cx="7505700" cy="7568334"/>
          </a:xfrm>
          <a:custGeom>
            <a:avLst/>
            <a:gdLst>
              <a:gd name="connsiteX0" fmla="*/ 0 w 7505700"/>
              <a:gd name="connsiteY0" fmla="*/ 0 h 7568334"/>
              <a:gd name="connsiteX1" fmla="*/ 7505700 w 7505700"/>
              <a:gd name="connsiteY1" fmla="*/ 0 h 7568334"/>
              <a:gd name="connsiteX2" fmla="*/ 7505700 w 7505700"/>
              <a:gd name="connsiteY2" fmla="*/ 7568334 h 7568334"/>
              <a:gd name="connsiteX3" fmla="*/ 0 w 7505700"/>
              <a:gd name="connsiteY3" fmla="*/ 7568334 h 7568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05700" h="7568334">
                <a:moveTo>
                  <a:pt x="0" y="0"/>
                </a:moveTo>
                <a:lnTo>
                  <a:pt x="7505700" y="0"/>
                </a:lnTo>
                <a:lnTo>
                  <a:pt x="7505700" y="7568334"/>
                </a:lnTo>
                <a:lnTo>
                  <a:pt x="0" y="7568334"/>
                </a:lnTo>
                <a:close/>
              </a:path>
            </a:pathLst>
          </a:cu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64992C8F-E863-9E35-C58E-E69B29BCE7C5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6B9EA9B-B121-07D6-DA17-69EB2FC2C45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A9AC18F-D271-417A-EFA9-505D18AF9CB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21B7882-06F4-ADD5-2804-7A2EE96783B7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4B582DD-2EDF-4FCA-46E8-A9BE1CF51488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81EE541-3A99-A625-AE8A-9E917B20184A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175D5EF-626A-521A-2E7B-D8DF3327CD11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0AE6806-8CDA-A959-68E4-9D9E523B88D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B1EA4A9-59A8-31AE-35C5-449D0E5DCDE0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8D55691-267A-D5B0-6104-CEE4794CCE2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7FBE4B9-3FC4-3563-1E09-7342256D80D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3110080-68D0-8125-BAB0-39800169498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2AA7020-4374-9A5D-E4D3-D242291F033E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9B06A61-466E-A124-3708-588A6BCA7884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939B74B-0E0B-70E7-9243-E433CDBE6E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A584772-A9FF-FEF9-664D-5392156E1A77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4EC3E1F1-2E92-1648-74E7-AA42DA16A5B8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5D91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1973440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">
    <p:bg>
      <p:bgPr>
        <a:solidFill>
          <a:srgbClr val="71A7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39FC0057-906A-11F8-C634-EBF9297682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2705100"/>
            <a:ext cx="11582400" cy="1447800"/>
          </a:xfrm>
        </p:spPr>
        <p:txBody>
          <a:bodyPr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7200" b="0" i="0" kern="1200" cap="all" baseline="0">
                <a:solidFill>
                  <a:srgbClr val="145798"/>
                </a:solidFill>
                <a:latin typeface="+mj-lt"/>
                <a:ea typeface="+mn-ea"/>
                <a:cs typeface="Gilroy Medium" panose="00000600000000000000" pitchFamily="50" charset="0"/>
              </a:defRPr>
            </a:lvl1pPr>
            <a:lvl2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E5B485-B026-D92D-30BE-6DEF522CC65E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145798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145798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DBB053F-9233-0012-200B-D3102BDF2541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CC8653-5B02-4FD9-E8E8-0F22F23B1E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29480C6-6D30-FBA1-9081-DA4BF5DC7AA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A20C609-5373-F20B-A8EE-441413CFBDA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25060EA-B439-A78D-55E0-6A4C57831B5C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94470AC-BA0E-759D-109F-9DE6E15B6B84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89F690E-26D9-185D-F357-9C4B42DC646D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77F6DAC-9478-19D1-AB9E-F2E243C63D60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FB19D31-0360-37F2-9F8B-A4D9D4CE0537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96FA4B-30F3-526A-6B31-E24167EDEBEA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BE1B777-9E81-E05D-519C-2CF9C63E1C3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56CF20A-7685-E355-E93D-9352D508BA2F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6A94713-4B76-0052-CE32-841566EFC0D3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07C5041-E847-E1C0-7BC7-CEF17AEBB43F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362B58B-9291-56D6-4E82-72E8FF64E8F0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77B1870-CB26-E51A-2CB0-6512DB3CB945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A7E3123-CD35-7588-CE5A-653052A4F17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170853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94C4CF-E0FF-4631-9D1F-8D387744062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B618C69-E9D3-EE81-0650-82D7F3C9E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9706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1307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B3604F9-8155-6A95-B879-575B7F4343C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Gilroy Medium" panose="00000600000000000000" pitchFamily="50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06EF82-6A3D-1633-4259-573E57F1B435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593D9CF-6623-33FA-BCDE-3790E5BC74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11274" y="2824138"/>
            <a:ext cx="4369451" cy="1209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35281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solidFill>
          <a:srgbClr val="0F44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rgbClr val="8DBE28"/>
                </a:solidFill>
                <a:latin typeface="+mj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937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3680CE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C9AAB4-21F4-5296-DEEF-3F651D416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937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rgbClr val="3680CE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DD9F570-FB4F-C345-DC5E-3F1E36A8D366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6643C4B-1061-5643-92AE-335DE67AD4E4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375566B-2CF3-DFD9-0534-ACC2BA0CD41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0C031CB-0C25-D8B2-C1CA-D70E2A6A51A6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9204C0-EF3F-E958-0B29-1CB71300DD1A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B88C8C0-6282-CD44-8D33-B5812D25C733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7DF1788-CF3B-2B80-3AD8-CEA2C013D8D6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6C11F0A-80ED-7CB9-636B-0DBF8D94ABAC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97312EB-6711-98A8-3BCA-E3516BA5F14C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21FE7A6-1F45-7A4E-C696-027A426FD44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66E8573-C2EA-80A0-8624-77DC083A154F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B6028CD-A9DF-0900-CAD7-43163AC9E713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9F2C829-14B6-78BD-F509-33C67B3F34E6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BAD7F2B-DC00-EC52-BDC4-273C257F79F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FBF61CC-E3F3-1A75-B07B-7C642E831F9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7497641-45B1-BE9B-19F6-73896FD4C602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D20C0355-79E3-6757-F758-25ECB1526D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8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24" name="Picture 23" descr="A logo with white text and colorful leaves&#10;&#10;AI-generated content may be incorrect.">
            <a:extLst>
              <a:ext uri="{FF2B5EF4-FFF2-40B4-BE49-F238E27FC236}">
                <a16:creationId xmlns:a16="http://schemas.microsoft.com/office/drawing/2014/main" id="{D5CC85D4-ADB6-A385-EEFA-BCC1AE373A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50" y="5861431"/>
            <a:ext cx="1511354" cy="850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23756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v2">
    <p:bg>
      <p:bgPr>
        <a:solidFill>
          <a:srgbClr val="0F44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rgbClr val="8DBE28"/>
                </a:solidFill>
                <a:latin typeface="+mj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937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3680CE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C9AAB4-21F4-5296-DEEF-3F651D416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937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rgbClr val="3680CE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20C0355-79E3-6757-F758-25ECB1526D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8"/>
                </a:solidFill>
                <a:latin typeface="+mn-lt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3217480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_Blank-Blue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B79BFA2-9768-37EC-5656-D5310FB67B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228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-DarkBlue">
    <p:bg>
      <p:bgPr>
        <a:solidFill>
          <a:srgbClr val="1356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A4C8EB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A4C8EB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A4C8EB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AE10007-65EE-3DC5-D278-0C9D7E3A32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55961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F440D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BFDE7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BFDE7E"/>
              </a:solidFill>
              <a:latin typeface="Gilroy Medium" panose="00000600000000000000" pitchFamily="50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34A9B01-B860-1812-4494-7D9F3204A26A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BFDE7E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7DBEDD-48E1-F0BC-E1F5-56C1CFDC66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76334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91BC4D-20E4-F913-03ED-A587C9384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A04216-DDEC-72B9-9E60-E714B7EF465A}"/>
              </a:ext>
            </a:extLst>
          </p:cNvPr>
          <p:cNvSpPr txBox="1"/>
          <p:nvPr userDrawn="1"/>
        </p:nvSpPr>
        <p:spPr>
          <a:xfrm>
            <a:off x="815546" y="658615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D7BABE-A72A-AC8E-3D81-85920E16ACD6}"/>
              </a:ext>
            </a:extLst>
          </p:cNvPr>
          <p:cNvSpPr txBox="1"/>
          <p:nvPr userDrawn="1"/>
        </p:nvSpPr>
        <p:spPr>
          <a:xfrm>
            <a:off x="1099751" y="65120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BEF3051-143D-99BA-E445-C800F2389F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A35B6BC-B286-4CDC-591D-D4401E79134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9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C2E7F8E-04D4-A56A-1BCE-393E662B38E0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BFDE7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BFDE7E"/>
              </a:solidFill>
              <a:latin typeface="Gilroy 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03384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91BC4D-20E4-F913-03ED-A587C9384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311256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E9C008-B438-8A37-A449-C266396B3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643F584-DFE9-52B6-FCD7-BAD0737D45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86725243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201E17-BEDC-EF1C-D1DD-24457F1043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FD3CEA-4696-D508-A304-19B4E6767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042D94A-C6F1-39C6-2A60-C21520457EA7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62DA099-CF4C-7378-4B67-8AD56B1F14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527E67-33B7-6A94-DA86-E9B86E7875A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AA7FA153-3ABD-09A6-8E96-5AE3D48874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4169C3F-C927-C052-D3FA-867BC006B1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0068685E-936C-9395-A7AE-9C1E881D1BF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C8CFD94-BF0D-BC97-4B00-68431E7044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86F0CE13-FA16-09C7-8A7B-F8A67977846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72B54E4-ABF3-072E-1D52-7095B67A0F39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E6F392C-39B5-F9D6-40D4-66E45902277B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BBC0A86-9583-8896-C62D-2E47715D971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C5F500B-5795-2B9B-DC30-5BE2330E102F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7B4A85-6C17-6FD1-87B6-ADE96538063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B2CD9F6-CDC3-72E7-E238-D8C4FE2D9181}"/>
              </a:ext>
            </a:extLst>
          </p:cNvPr>
          <p:cNvSpPr txBox="1"/>
          <p:nvPr userDrawn="1"/>
        </p:nvSpPr>
        <p:spPr>
          <a:xfrm>
            <a:off x="11446884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E077E3-40E7-E1C6-9556-60CBF8A93C79}"/>
              </a:ext>
            </a:extLst>
          </p:cNvPr>
          <p:cNvSpPr txBox="1"/>
          <p:nvPr userDrawn="1"/>
        </p:nvSpPr>
        <p:spPr>
          <a:xfrm>
            <a:off x="806116" y="65572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277C6F-2854-1D7B-4CB4-78D6270A69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0D9A1E6-E1AA-7EC1-8287-49071D7C3BF9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20646426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+Bullet -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4A3B-669E-BFBB-F054-74A96CD9BD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334527"/>
            <a:ext cx="11582400" cy="2209800"/>
          </a:xfrm>
        </p:spPr>
        <p:txBody>
          <a:bodyPr/>
          <a:lstStyle>
            <a:lvl1pPr>
              <a:lnSpc>
                <a:spcPts val="5400"/>
              </a:lnSpc>
              <a:spcBef>
                <a:spcPts val="0"/>
              </a:spcBef>
              <a:defRPr lang="en-US" sz="6000" b="0" i="0" kern="1200" smtClean="0">
                <a:solidFill>
                  <a:srgbClr val="3680CE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</a:t>
            </a:r>
          </a:p>
          <a:p>
            <a:pPr lvl="0"/>
            <a:r>
              <a:rPr lang="en-US"/>
              <a:t>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7819E8-720B-BE5F-35CF-65D1F127F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3825875"/>
            <a:ext cx="11582400" cy="194310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5B01BE4-EEE1-75CD-8758-B2ADD247FC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247954-3C0B-B902-34FA-13B9AD74C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DD46315-B0B3-1EC1-FDC0-6BDAD184C2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CCAC1FA-5FEE-2B48-80F3-D73F1BCE406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03996524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rgbClr val="02355A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rgbClr val="02355A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02355A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rgbClr val="02355A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32518213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162296" y="1219200"/>
            <a:ext cx="8724904" cy="4419600"/>
          </a:xfrm>
        </p:spPr>
        <p:txBody>
          <a:bodyPr/>
          <a:lstStyle>
            <a:lvl1pPr marL="182880" indent="-365760">
              <a:buFont typeface="+mj-lt"/>
              <a:buAutoNum type="arabicPeriod"/>
              <a:defRPr sz="2800" b="1">
                <a:solidFill>
                  <a:schemeClr val="accent1"/>
                </a:solidFill>
                <a:latin typeface="+mn-lt"/>
              </a:defRPr>
            </a:lvl1pPr>
            <a:lvl2pPr>
              <a:defRPr sz="24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1F792B6-783B-824E-0F33-27BAD31A4C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5E03D8E-722C-7E9B-4CF6-3BB3E20CF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3A13F1-F363-9D8B-763B-FF6DB80614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DE22E13-77AC-E425-8E7B-59FA7E51660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86200783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48430F1B-04C8-37C5-DB54-6BC657AC40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3680CE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5D910D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5D910D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 marL="0" indent="0">
              <a:buNone/>
              <a:defRPr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A561B79-09DB-0555-DF84-ED0F621263A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5D910D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67EB93E-9E09-2CDA-076E-EDCAD081B3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4735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EB00219-BEBD-5C89-B7A2-8BF2924CA0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4670910-9A81-2D2D-9703-E4C8215326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5B92538-B221-62A4-867D-B0ABFAAFF5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AD2125-5374-13E1-F795-AC82A9236A12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D541036-711C-D15D-D98A-A3898870B4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89153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BDB4D7A-57BB-0E11-FC7F-92013C566F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931805B-212C-F549-0DAA-2648C21BD4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A81A6BC9-BF07-A15D-90CE-D757CA4F2A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A223603F-1687-4839-9217-168184E33EC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DDEBC29-7846-F426-C9E4-2F047B8584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DF73C0-7D1E-F8EF-D558-C4C0DDD9D397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D3B0304-F7B9-A020-6563-16CB86C1EF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95770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-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D77DB0AB-4EF4-F746-7298-F6C3E404002A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FFD073-596B-C966-AD2B-94EB41D06CE4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FC8BD11-B504-A733-1D48-48A168A10C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31325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A3BD900-1908-6DF8-F80E-38A643313A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56481" y="304800"/>
            <a:ext cx="3688079" cy="5981699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49A6E31-E5CB-3F28-59B9-3D96D39BFE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37601" y="337978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AE5E181B-E79B-6204-7F22-50CFDFB5F3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37601" y="30130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5ECEBC1-4D75-6F0E-AE6A-47DDF1DEDD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409448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613EDE5B-D6DF-5E1F-7A8A-72E394E88D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409448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FBFF9F1-6BAC-1DF0-94BB-EBDBD5832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409448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13F284-07F6-49C2-63C6-86FCBE69BB8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CDFB88-1BF6-658B-090A-FA594F13B6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5100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4800" y="3888828"/>
            <a:ext cx="3657600" cy="174521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794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FCA3879-DB25-6606-BE61-7468DA06E2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9A36B2D-C4B4-09E1-30A3-7DEE0B7D88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7200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3E6C5A6-EDAC-314F-5AE5-9564331359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672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F8C2028F-B052-CFFA-DE15-DA4E13A615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29600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BFB600BF-AFD2-4AD7-7C7D-AB04EDAF7D2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C60848-68E6-C17F-C22D-EA1FF5F4B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Picture Placeholder 50">
            <a:extLst>
              <a:ext uri="{FF2B5EF4-FFF2-40B4-BE49-F238E27FC236}">
                <a16:creationId xmlns:a16="http://schemas.microsoft.com/office/drawing/2014/main" id="{A479D373-550A-277C-9E29-4763D6EF3203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4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50">
            <a:extLst>
              <a:ext uri="{FF2B5EF4-FFF2-40B4-BE49-F238E27FC236}">
                <a16:creationId xmlns:a16="http://schemas.microsoft.com/office/drawing/2014/main" id="{E3D0CA9A-9DCA-285D-5947-D27336FE76BA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 flipH="1">
            <a:off x="4267200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50">
            <a:extLst>
              <a:ext uri="{FF2B5EF4-FFF2-40B4-BE49-F238E27FC236}">
                <a16:creationId xmlns:a16="http://schemas.microsoft.com/office/drawing/2014/main" id="{E04B5877-BF81-42FF-F396-FA19ECC3ECD6}"/>
              </a:ext>
            </a:extLst>
          </p:cNvPr>
          <p:cNvSpPr>
            <a:spLocks noGrp="1"/>
          </p:cNvSpPr>
          <p:nvPr>
            <p:ph type="pic" sz="quarter" idx="67"/>
          </p:nvPr>
        </p:nvSpPr>
        <p:spPr>
          <a:xfrm flipH="1">
            <a:off x="8229600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574799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Drinks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tx2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F7A221-4131-F79E-81DD-572AEAE896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750146-5407-885A-1DA5-4D48D4540FB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FDD9CA-9F0B-B737-A35D-05711DB598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95" y="362758"/>
            <a:ext cx="896203" cy="89620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2D42475-506B-7A75-E736-9BDE0E6C028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30715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Food">
    <p:bg>
      <p:bgPr>
        <a:solidFill>
          <a:srgbClr val="EB9F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accent5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54F07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3AF5BC-3159-7D8C-75AA-14C890BE4B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96" y="362758"/>
            <a:ext cx="896203" cy="89620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67B7BF6-CD50-1B4E-0BFC-3EF9545892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17409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-Food">
    <p:bg>
      <p:bgPr>
        <a:solidFill>
          <a:srgbClr val="EE6D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922F11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rgbClr val="922F1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22F11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35DDFA-4EA6-8118-09EA-894AD22101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32" y="362758"/>
            <a:ext cx="1612900" cy="137129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0717875-20D0-C6F7-D1D7-E08E085476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90537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">
    <p:bg>
      <p:bgPr>
        <a:solidFill>
          <a:srgbClr val="71A7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39FC0057-906A-11F8-C634-EBF9297682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2705100"/>
            <a:ext cx="11582400" cy="1447800"/>
          </a:xfrm>
        </p:spPr>
        <p:txBody>
          <a:bodyPr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7200" b="0" i="0" kern="1200" cap="all" baseline="0">
                <a:solidFill>
                  <a:srgbClr val="145798"/>
                </a:solidFill>
                <a:latin typeface="+mj-lt"/>
                <a:ea typeface="+mn-ea"/>
                <a:cs typeface="Gilroy Medium" panose="00000600000000000000" pitchFamily="50" charset="0"/>
              </a:defRPr>
            </a:lvl1pPr>
            <a:lvl2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E5B485-B026-D92D-30BE-6DEF522CC65E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145798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145798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DBB053F-9233-0012-200B-D3102BDF2541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CC8653-5B02-4FD9-E8E8-0F22F23B1E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29480C6-6D30-FBA1-9081-DA4BF5DC7AA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A20C609-5373-F20B-A8EE-441413CFBDA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25060EA-B439-A78D-55E0-6A4C57831B5C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94470AC-BA0E-759D-109F-9DE6E15B6B84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89F690E-26D9-185D-F357-9C4B42DC646D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77F6DAC-9478-19D1-AB9E-F2E243C63D60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FB19D31-0360-37F2-9F8B-A4D9D4CE0537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96FA4B-30F3-526A-6B31-E24167EDEBEA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BE1B777-9E81-E05D-519C-2CF9C63E1C3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56CF20A-7685-E355-E93D-9352D508BA2F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6A94713-4B76-0052-CE32-841566EFC0D3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07C5041-E847-E1C0-7BC7-CEF17AEBB43F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362B58B-9291-56D6-4E82-72E8FF64E8F0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77B1870-CB26-E51A-2CB0-6512DB3CB945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A7E3123-CD35-7588-CE5A-653052A4F17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FE4383-3308-AECA-BC92-908820AE4B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32566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94C4CF-E0FF-4631-9D1F-8D387744062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B618C69-E9D3-EE81-0650-82D7F3C9E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9706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CB49EEA-D01D-3940-FE7A-2DCFA1445B13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979377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image" Target="../media/image23.emf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8" y="246888"/>
            <a:ext cx="11585448" cy="969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A8DB1-B4DD-4F3D-9CAB-994462C51D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219200"/>
            <a:ext cx="11582398" cy="44123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A73341-108A-4DC8-92A2-2CA590BB4022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641B0E-CDE6-4F1D-B3A5-7CEDD4AA34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796" y="5768975"/>
            <a:ext cx="1158240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47FD04F-64FC-CE14-7E6C-AC14EBA406E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3BED3BD-7FCF-DDCD-7ABE-D40D23D188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6A59D2D-963F-FC5F-76F8-2685A84DE18E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E42FEF-4DE3-0DBB-DA93-5532D44E467D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513F617-5F5B-ACD6-9D53-086EA767038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9425CA8-7AB3-EA99-FD7E-62D4B1311CFB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B9C748B-6306-7E6F-B15A-87C022F79C3B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5ACB2F7-8C1F-6661-CECE-A51272A62D67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0832C14-1818-744E-59F5-7E196A22A1E4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7986FF-9B19-6DB4-4EFF-7DE6E971E1F0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72DE6B9-5479-9F85-19C4-80BEEF56256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AF9160E-19C5-F0F9-C653-3E1B8C79F1B8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618EDCB-350A-2B73-D4BF-0A47360A524F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16AC3D-AE68-5D97-B0D7-72F51120ECB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0989396-46DC-4E35-49EE-CF1F6C7A7E09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F93C799-4C4D-A437-E150-353C52FA92FE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6924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29" r:id="rId2"/>
    <p:sldLayoutId id="2147483824" r:id="rId3"/>
    <p:sldLayoutId id="2147483910" r:id="rId4"/>
    <p:sldLayoutId id="2147483856" r:id="rId5"/>
    <p:sldLayoutId id="2147483865" r:id="rId6"/>
    <p:sldLayoutId id="2147483825" r:id="rId7"/>
    <p:sldLayoutId id="2147483831" r:id="rId8"/>
    <p:sldLayoutId id="2147483845" r:id="rId9"/>
    <p:sldLayoutId id="2147483848" r:id="rId10"/>
    <p:sldLayoutId id="2147483857" r:id="rId11"/>
    <p:sldLayoutId id="2147483866" r:id="rId12"/>
    <p:sldLayoutId id="2147483828" r:id="rId13"/>
    <p:sldLayoutId id="2147483923" r:id="rId14"/>
    <p:sldLayoutId id="2147483922" r:id="rId15"/>
    <p:sldLayoutId id="2147483921" r:id="rId16"/>
    <p:sldLayoutId id="2147483919" r:id="rId17"/>
    <p:sldLayoutId id="2147483920" r:id="rId18"/>
    <p:sldLayoutId id="2147483918" r:id="rId19"/>
    <p:sldLayoutId id="2147483915" r:id="rId20"/>
    <p:sldLayoutId id="2147483916" r:id="rId21"/>
    <p:sldLayoutId id="2147483917" r:id="rId22"/>
    <p:sldLayoutId id="2147483913" r:id="rId23"/>
    <p:sldLayoutId id="2147483855" r:id="rId24"/>
    <p:sldLayoutId id="2147483852" r:id="rId25"/>
    <p:sldLayoutId id="2147483864" r:id="rId26"/>
    <p:sldLayoutId id="2147483875" r:id="rId27"/>
    <p:sldLayoutId id="2147483853" r:id="rId28"/>
    <p:sldLayoutId id="2147483876" r:id="rId29"/>
    <p:sldLayoutId id="2147483863" r:id="rId30"/>
    <p:sldLayoutId id="2147483874" r:id="rId31"/>
    <p:sldLayoutId id="2147483851" r:id="rId32"/>
    <p:sldLayoutId id="2147483885" r:id="rId33"/>
    <p:sldLayoutId id="2147483903" r:id="rId34"/>
    <p:sldLayoutId id="2147483847" r:id="rId35"/>
    <p:sldLayoutId id="2147483861" r:id="rId36"/>
    <p:sldLayoutId id="2147483870" r:id="rId37"/>
    <p:sldLayoutId id="2147483854" r:id="rId38"/>
    <p:sldLayoutId id="2147483826" r:id="rId39"/>
    <p:sldLayoutId id="2147483836" r:id="rId40"/>
    <p:sldLayoutId id="2147483837" r:id="rId41"/>
    <p:sldLayoutId id="2147483835" r:id="rId42"/>
    <p:sldLayoutId id="2147483842" r:id="rId43"/>
    <p:sldLayoutId id="2147483849" r:id="rId44"/>
    <p:sldLayoutId id="2147483888" r:id="rId45"/>
    <p:sldLayoutId id="2147483843" r:id="rId46"/>
    <p:sldLayoutId id="2147483905" r:id="rId47"/>
    <p:sldLayoutId id="2147483887" r:id="rId48"/>
    <p:sldLayoutId id="2147483904" r:id="rId49"/>
    <p:sldLayoutId id="2147483889" r:id="rId50"/>
    <p:sldLayoutId id="2147483890" r:id="rId51"/>
    <p:sldLayoutId id="2147483868" r:id="rId52"/>
    <p:sldLayoutId id="2147483886" r:id="rId53"/>
    <p:sldLayoutId id="2147483892" r:id="rId54"/>
    <p:sldLayoutId id="2147483893" r:id="rId55"/>
    <p:sldLayoutId id="2147483894" r:id="rId56"/>
    <p:sldLayoutId id="2147483846" r:id="rId57"/>
    <p:sldLayoutId id="2147483895" r:id="rId58"/>
    <p:sldLayoutId id="2147483896" r:id="rId59"/>
    <p:sldLayoutId id="2147483900" r:id="rId60"/>
    <p:sldLayoutId id="2147483838" r:id="rId61"/>
    <p:sldLayoutId id="2147483840" r:id="rId62"/>
    <p:sldLayoutId id="2147483872" r:id="rId63"/>
    <p:sldLayoutId id="2147483873" r:id="rId64"/>
    <p:sldLayoutId id="2147483906" r:id="rId65"/>
    <p:sldLayoutId id="2147483907" r:id="rId66"/>
    <p:sldLayoutId id="2147483908" r:id="rId67"/>
    <p:sldLayoutId id="2147483841" r:id="rId68"/>
    <p:sldLayoutId id="2147483858" r:id="rId69"/>
    <p:sldLayoutId id="2147483867" r:id="rId70"/>
    <p:sldLayoutId id="2147483834" r:id="rId71"/>
    <p:sldLayoutId id="2147483833" r:id="rId72"/>
    <p:sldLayoutId id="2147483924" r:id="rId7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–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92" userDrawn="1">
          <p15:clr>
            <a:srgbClr val="F26B43"/>
          </p15:clr>
        </p15:guide>
        <p15:guide id="4" pos="7488" userDrawn="1">
          <p15:clr>
            <a:srgbClr val="F26B43"/>
          </p15:clr>
        </p15:guide>
        <p15:guide id="5" orient="horz" pos="768" userDrawn="1">
          <p15:clr>
            <a:srgbClr val="F26B43"/>
          </p15:clr>
        </p15:guide>
        <p15:guide id="6" orient="horz" pos="386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3C6CA2EA-CEAF-84F7-5EDC-790C0A0431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124044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81" imgH="381" progId="TCLayout.ActiveDocument.1">
                  <p:embed/>
                </p:oleObj>
              </mc:Choice>
              <mc:Fallback>
                <p:oleObj name="think-cell Slide" r:id="rId24" imgW="381" imgH="381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6CA2EA-CEAF-84F7-5EDC-790C0A0431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8" y="246888"/>
            <a:ext cx="11585448" cy="969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A8DB1-B4DD-4F3D-9CAB-994462C51D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219200"/>
            <a:ext cx="11582398" cy="44123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641B0E-CDE6-4F1D-B3A5-7CEDD4AA34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796" y="5768975"/>
            <a:ext cx="1158240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301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0" r:id="rId15"/>
    <p:sldLayoutId id="2147483941" r:id="rId16"/>
    <p:sldLayoutId id="2147483942" r:id="rId17"/>
    <p:sldLayoutId id="2147483943" r:id="rId18"/>
    <p:sldLayoutId id="2147483944" r:id="rId19"/>
    <p:sldLayoutId id="2147483945" r:id="rId20"/>
    <p:sldLayoutId id="2147483946" r:id="rId2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–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92">
          <p15:clr>
            <a:srgbClr val="F26B43"/>
          </p15:clr>
        </p15:guide>
        <p15:guide id="4" pos="7488">
          <p15:clr>
            <a:srgbClr val="F26B43"/>
          </p15:clr>
        </p15:guide>
        <p15:guide id="5" orient="horz" pos="76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30.png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31.png"/><Relationship Id="rId11" Type="http://schemas.openxmlformats.org/officeDocument/2006/relationships/hyperlink" Target="mailto:Nicole.Popowski@pepsico.com" TargetMode="External"/><Relationship Id="rId5" Type="http://schemas.openxmlformats.org/officeDocument/2006/relationships/hyperlink" Target="mailto:catherine.walton@pepsico.com" TargetMode="External"/><Relationship Id="rId10" Type="http://schemas.openxmlformats.org/officeDocument/2006/relationships/hyperlink" Target="mailto:shanna.parra@pepsico.com" TargetMode="External"/><Relationship Id="rId4" Type="http://schemas.openxmlformats.org/officeDocument/2006/relationships/image" Target="../media/image25.png"/><Relationship Id="rId9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41DF73BB-7587-787F-B8A8-7236306DC5E3}"/>
              </a:ext>
            </a:extLst>
          </p:cNvPr>
          <p:cNvSpPr>
            <a:spLocks/>
          </p:cNvSpPr>
          <p:nvPr/>
        </p:nvSpPr>
        <p:spPr>
          <a:xfrm>
            <a:off x="8600533" y="1628577"/>
            <a:ext cx="2889009" cy="2850747"/>
          </a:xfrm>
          <a:prstGeom prst="roundRect">
            <a:avLst>
              <a:gd name="adj" fmla="val 4422"/>
            </a:avLst>
          </a:prstGeom>
          <a:solidFill>
            <a:srgbClr val="5C8E0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2286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4572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6858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9144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11430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13716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16002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18288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  <a:sym typeface="Helvetica Neue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8FE9EFF0-3F62-7C1E-FF6C-8F4B39187974}"/>
              </a:ext>
            </a:extLst>
          </p:cNvPr>
          <p:cNvSpPr>
            <a:spLocks/>
          </p:cNvSpPr>
          <p:nvPr/>
        </p:nvSpPr>
        <p:spPr>
          <a:xfrm>
            <a:off x="4679149" y="1595625"/>
            <a:ext cx="2889009" cy="2931874"/>
          </a:xfrm>
          <a:prstGeom prst="roundRect">
            <a:avLst>
              <a:gd name="adj" fmla="val 4422"/>
            </a:avLst>
          </a:prstGeom>
          <a:solidFill>
            <a:srgbClr val="5C8E0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2286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4572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6858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9144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11430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13716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16002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18288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  <a:sym typeface="Helvetica Neue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FAC0363-DAFB-D360-F0A5-DD6C63FD9A35}"/>
              </a:ext>
            </a:extLst>
          </p:cNvPr>
          <p:cNvSpPr>
            <a:spLocks/>
          </p:cNvSpPr>
          <p:nvPr/>
        </p:nvSpPr>
        <p:spPr>
          <a:xfrm>
            <a:off x="603914" y="1596546"/>
            <a:ext cx="2889009" cy="2931874"/>
          </a:xfrm>
          <a:prstGeom prst="roundRect">
            <a:avLst>
              <a:gd name="adj" fmla="val 4422"/>
            </a:avLst>
          </a:prstGeom>
          <a:solidFill>
            <a:srgbClr val="5C8E0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2286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4572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6858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9144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11430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13716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16002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18288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  <a:sym typeface="Helvetica Neue"/>
            </a:endParaRPr>
          </a:p>
        </p:txBody>
      </p:sp>
      <p:pic>
        <p:nvPicPr>
          <p:cNvPr id="27" name="Picture 26" descr="A green leaves on a black background&#10;&#10;Description automatically generated">
            <a:extLst>
              <a:ext uri="{FF2B5EF4-FFF2-40B4-BE49-F238E27FC236}">
                <a16:creationId xmlns:a16="http://schemas.microsoft.com/office/drawing/2014/main" id="{893F92D0-3E62-9215-256A-19167C196C1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43" t="14412" r="-101" b="-347"/>
          <a:stretch>
            <a:fillRect/>
          </a:stretch>
        </p:blipFill>
        <p:spPr>
          <a:xfrm rot="1341305">
            <a:off x="10325928" y="-306101"/>
            <a:ext cx="1890976" cy="178041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A1D7448-0DA5-4158-2493-EA18F38CE21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  <p:sp>
        <p:nvSpPr>
          <p:cNvPr id="7" name="Content Placeholder 24">
            <a:extLst>
              <a:ext uri="{FF2B5EF4-FFF2-40B4-BE49-F238E27FC236}">
                <a16:creationId xmlns:a16="http://schemas.microsoft.com/office/drawing/2014/main" id="{2827E8BD-6053-7D0F-8690-015DBBA7465F}"/>
              </a:ext>
            </a:extLst>
          </p:cNvPr>
          <p:cNvSpPr txBox="1">
            <a:spLocks/>
          </p:cNvSpPr>
          <p:nvPr/>
        </p:nvSpPr>
        <p:spPr>
          <a:xfrm>
            <a:off x="4909294" y="5401371"/>
            <a:ext cx="2985553" cy="7005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Senior Manager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Commercial Sustainability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therine.walton@pepsico.com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ED5FAFE-83AF-F7D3-D5C9-606AEF16003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4700"/>
                    </a14:imgEffect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956818" y="2143382"/>
            <a:ext cx="2322554" cy="2345975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436D7219-4943-3CD4-866F-1D15796C44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356072"/>
            <a:ext cx="11585448" cy="969264"/>
          </a:xfrm>
        </p:spPr>
        <p:txBody>
          <a:bodyPr/>
          <a:lstStyle/>
          <a:p>
            <a:r>
              <a:rPr lang="en-US">
                <a:solidFill>
                  <a:srgbClr val="5D910D"/>
                </a:solidFill>
              </a:rPr>
              <a:t>Commercial sustainability contact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2D395F46-D030-1C29-FA06-220AB8CA45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392" y="834029"/>
            <a:ext cx="11582401" cy="31659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Let’s partner!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1E4AF910-747C-7493-C32B-370B571978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0561" y="2076776"/>
            <a:ext cx="2388955" cy="2377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A person smiling at camera&#10;&#10;AI-generated content may be incorrect.">
            <a:extLst>
              <a:ext uri="{FF2B5EF4-FFF2-40B4-BE49-F238E27FC236}">
                <a16:creationId xmlns:a16="http://schemas.microsoft.com/office/drawing/2014/main" id="{595C6742-0D19-2DC6-C07B-731FB1B46A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853" y="2071616"/>
            <a:ext cx="2345423" cy="2427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2132437D-C968-CC06-B2C9-D2A81C1EA20B}"/>
              </a:ext>
            </a:extLst>
          </p:cNvPr>
          <p:cNvGrpSpPr/>
          <p:nvPr/>
        </p:nvGrpSpPr>
        <p:grpSpPr>
          <a:xfrm>
            <a:off x="297788" y="4100827"/>
            <a:ext cx="3313705" cy="1911336"/>
            <a:chOff x="5229650" y="3848162"/>
            <a:chExt cx="3313705" cy="1911336"/>
          </a:xfrm>
        </p:grpSpPr>
        <p:sp>
          <p:nvSpPr>
            <p:cNvPr id="11" name="Graphic 15">
              <a:extLst>
                <a:ext uri="{FF2B5EF4-FFF2-40B4-BE49-F238E27FC236}">
                  <a16:creationId xmlns:a16="http://schemas.microsoft.com/office/drawing/2014/main" id="{C4A3E3D0-46EF-144B-AAB9-7B54CBA27343}"/>
                </a:ext>
              </a:extLst>
            </p:cNvPr>
            <p:cNvSpPr/>
            <p:nvPr/>
          </p:nvSpPr>
          <p:spPr>
            <a:xfrm>
              <a:off x="5229650" y="3848162"/>
              <a:ext cx="477938" cy="477938"/>
            </a:xfrm>
            <a:custGeom>
              <a:avLst/>
              <a:gdLst>
                <a:gd name="connsiteX0" fmla="*/ 1147763 w 1905000"/>
                <a:gd name="connsiteY0" fmla="*/ 0 h 1905000"/>
                <a:gd name="connsiteX1" fmla="*/ 1200150 w 1905000"/>
                <a:gd name="connsiteY1" fmla="*/ 52388 h 1905000"/>
                <a:gd name="connsiteX2" fmla="*/ 1200150 w 1905000"/>
                <a:gd name="connsiteY2" fmla="*/ 681038 h 1905000"/>
                <a:gd name="connsiteX3" fmla="*/ 1223963 w 1905000"/>
                <a:gd name="connsiteY3" fmla="*/ 704850 h 1905000"/>
                <a:gd name="connsiteX4" fmla="*/ 1852613 w 1905000"/>
                <a:gd name="connsiteY4" fmla="*/ 704850 h 1905000"/>
                <a:gd name="connsiteX5" fmla="*/ 1905000 w 1905000"/>
                <a:gd name="connsiteY5" fmla="*/ 757238 h 1905000"/>
                <a:gd name="connsiteX6" fmla="*/ 1905000 w 1905000"/>
                <a:gd name="connsiteY6" fmla="*/ 1147763 h 1905000"/>
                <a:gd name="connsiteX7" fmla="*/ 1852613 w 1905000"/>
                <a:gd name="connsiteY7" fmla="*/ 1200150 h 1905000"/>
                <a:gd name="connsiteX8" fmla="*/ 1223963 w 1905000"/>
                <a:gd name="connsiteY8" fmla="*/ 1200150 h 1905000"/>
                <a:gd name="connsiteX9" fmla="*/ 1200150 w 1905000"/>
                <a:gd name="connsiteY9" fmla="*/ 1223963 h 1905000"/>
                <a:gd name="connsiteX10" fmla="*/ 1200150 w 1905000"/>
                <a:gd name="connsiteY10" fmla="*/ 1852613 h 1905000"/>
                <a:gd name="connsiteX11" fmla="*/ 1147763 w 1905000"/>
                <a:gd name="connsiteY11" fmla="*/ 1905000 h 1905000"/>
                <a:gd name="connsiteX12" fmla="*/ 757238 w 1905000"/>
                <a:gd name="connsiteY12" fmla="*/ 1905000 h 1905000"/>
                <a:gd name="connsiteX13" fmla="*/ 704850 w 1905000"/>
                <a:gd name="connsiteY13" fmla="*/ 1852613 h 1905000"/>
                <a:gd name="connsiteX14" fmla="*/ 704850 w 1905000"/>
                <a:gd name="connsiteY14" fmla="*/ 1223963 h 1905000"/>
                <a:gd name="connsiteX15" fmla="*/ 681038 w 1905000"/>
                <a:gd name="connsiteY15" fmla="*/ 1200150 h 1905000"/>
                <a:gd name="connsiteX16" fmla="*/ 52388 w 1905000"/>
                <a:gd name="connsiteY16" fmla="*/ 1200150 h 1905000"/>
                <a:gd name="connsiteX17" fmla="*/ 0 w 1905000"/>
                <a:gd name="connsiteY17" fmla="*/ 1147763 h 1905000"/>
                <a:gd name="connsiteX18" fmla="*/ 0 w 1905000"/>
                <a:gd name="connsiteY18" fmla="*/ 757238 h 1905000"/>
                <a:gd name="connsiteX19" fmla="*/ 52388 w 1905000"/>
                <a:gd name="connsiteY19" fmla="*/ 704850 h 1905000"/>
                <a:gd name="connsiteX20" fmla="*/ 681038 w 1905000"/>
                <a:gd name="connsiteY20" fmla="*/ 704850 h 1905000"/>
                <a:gd name="connsiteX21" fmla="*/ 704850 w 1905000"/>
                <a:gd name="connsiteY21" fmla="*/ 681038 h 1905000"/>
                <a:gd name="connsiteX22" fmla="*/ 704850 w 1905000"/>
                <a:gd name="connsiteY22" fmla="*/ 52388 h 1905000"/>
                <a:gd name="connsiteX23" fmla="*/ 757238 w 1905000"/>
                <a:gd name="connsiteY23" fmla="*/ 0 h 1905000"/>
                <a:gd name="connsiteX24" fmla="*/ 1147763 w 1905000"/>
                <a:gd name="connsiteY24" fmla="*/ 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905000" h="1905000">
                  <a:moveTo>
                    <a:pt x="1147763" y="0"/>
                  </a:moveTo>
                  <a:cubicBezTo>
                    <a:pt x="1176719" y="0"/>
                    <a:pt x="1200150" y="23432"/>
                    <a:pt x="1200150" y="52388"/>
                  </a:cubicBezTo>
                  <a:lnTo>
                    <a:pt x="1200150" y="681038"/>
                  </a:lnTo>
                  <a:cubicBezTo>
                    <a:pt x="1200150" y="694182"/>
                    <a:pt x="1210818" y="704850"/>
                    <a:pt x="1223963" y="704850"/>
                  </a:cubicBezTo>
                  <a:lnTo>
                    <a:pt x="1852613" y="704850"/>
                  </a:lnTo>
                  <a:cubicBezTo>
                    <a:pt x="1881568" y="704850"/>
                    <a:pt x="1905000" y="728282"/>
                    <a:pt x="1905000" y="757238"/>
                  </a:cubicBezTo>
                  <a:lnTo>
                    <a:pt x="1905000" y="1147763"/>
                  </a:lnTo>
                  <a:cubicBezTo>
                    <a:pt x="1905000" y="1176719"/>
                    <a:pt x="1881568" y="1200150"/>
                    <a:pt x="1852613" y="1200150"/>
                  </a:cubicBezTo>
                  <a:lnTo>
                    <a:pt x="1223963" y="1200150"/>
                  </a:lnTo>
                  <a:cubicBezTo>
                    <a:pt x="1210818" y="1200150"/>
                    <a:pt x="1200150" y="1210818"/>
                    <a:pt x="1200150" y="1223963"/>
                  </a:cubicBezTo>
                  <a:lnTo>
                    <a:pt x="1200150" y="1852613"/>
                  </a:lnTo>
                  <a:cubicBezTo>
                    <a:pt x="1200150" y="1881568"/>
                    <a:pt x="1176719" y="1905000"/>
                    <a:pt x="1147763" y="1905000"/>
                  </a:cubicBezTo>
                  <a:lnTo>
                    <a:pt x="757238" y="1905000"/>
                  </a:lnTo>
                  <a:cubicBezTo>
                    <a:pt x="728282" y="1905000"/>
                    <a:pt x="704850" y="1881568"/>
                    <a:pt x="704850" y="1852613"/>
                  </a:cubicBezTo>
                  <a:lnTo>
                    <a:pt x="704850" y="1223963"/>
                  </a:lnTo>
                  <a:cubicBezTo>
                    <a:pt x="704850" y="1210818"/>
                    <a:pt x="694182" y="1200150"/>
                    <a:pt x="681038" y="1200150"/>
                  </a:cubicBezTo>
                  <a:lnTo>
                    <a:pt x="52388" y="1200150"/>
                  </a:lnTo>
                  <a:cubicBezTo>
                    <a:pt x="23432" y="1200150"/>
                    <a:pt x="0" y="1176719"/>
                    <a:pt x="0" y="1147763"/>
                  </a:cubicBezTo>
                  <a:lnTo>
                    <a:pt x="0" y="757238"/>
                  </a:lnTo>
                  <a:cubicBezTo>
                    <a:pt x="0" y="728282"/>
                    <a:pt x="23432" y="704850"/>
                    <a:pt x="52388" y="704850"/>
                  </a:cubicBezTo>
                  <a:lnTo>
                    <a:pt x="681038" y="704850"/>
                  </a:lnTo>
                  <a:cubicBezTo>
                    <a:pt x="694182" y="704850"/>
                    <a:pt x="704850" y="694182"/>
                    <a:pt x="704850" y="681038"/>
                  </a:cubicBezTo>
                  <a:lnTo>
                    <a:pt x="704850" y="52388"/>
                  </a:lnTo>
                  <a:cubicBezTo>
                    <a:pt x="704850" y="23432"/>
                    <a:pt x="728282" y="0"/>
                    <a:pt x="757238" y="0"/>
                  </a:cubicBezTo>
                  <a:lnTo>
                    <a:pt x="1147763" y="0"/>
                  </a:lnTo>
                  <a:close/>
                </a:path>
              </a:pathLst>
            </a:custGeom>
            <a:solidFill>
              <a:srgbClr val="8BBB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9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"/>
                </a:defRPr>
              </a:lvl1pPr>
              <a:lvl2pPr marL="0" marR="0" indent="22860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"/>
                </a:defRPr>
              </a:lvl2pPr>
              <a:lvl3pPr marL="0" marR="0" indent="45720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"/>
                </a:defRPr>
              </a:lvl3pPr>
              <a:lvl4pPr marL="0" marR="0" indent="68580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"/>
                </a:defRPr>
              </a:lvl4pPr>
              <a:lvl5pPr marL="0" marR="0" indent="91440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"/>
                </a:defRPr>
              </a:lvl5pPr>
              <a:lvl6pPr marL="0" marR="0" indent="114300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"/>
                </a:defRPr>
              </a:lvl6pPr>
              <a:lvl7pPr marL="0" marR="0" indent="137160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"/>
                </a:defRPr>
              </a:lvl7pPr>
              <a:lvl8pPr marL="0" marR="0" indent="160020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"/>
                </a:defRPr>
              </a:lvl8pPr>
              <a:lvl9pPr marL="0" marR="0" indent="182880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"/>
                </a:defRPr>
              </a:lvl9pPr>
            </a:lstStyle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roy Medium"/>
                <a:ea typeface="+mn-ea"/>
                <a:cs typeface="+mn-cs"/>
                <a:sym typeface="Helvetica Neue"/>
              </a:endParaRPr>
            </a:p>
          </p:txBody>
        </p:sp>
        <p:sp>
          <p:nvSpPr>
            <p:cNvPr id="12" name="TextBox 10">
              <a:extLst>
                <a:ext uri="{FF2B5EF4-FFF2-40B4-BE49-F238E27FC236}">
                  <a16:creationId xmlns:a16="http://schemas.microsoft.com/office/drawing/2014/main" id="{361E9FDC-DA4F-4D81-9DAB-D91ED145598F}"/>
                </a:ext>
              </a:extLst>
            </p:cNvPr>
            <p:cNvSpPr txBox="1"/>
            <p:nvPr/>
          </p:nvSpPr>
          <p:spPr>
            <a:xfrm>
              <a:off x="5717846" y="4344752"/>
              <a:ext cx="2825509" cy="1414746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>
              <a:spAutoFit/>
            </a:bodyPr>
            <a:lstStyle>
              <a:def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9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"/>
                </a:defRPr>
              </a:lvl1pPr>
              <a:lvl2pPr marL="0" marR="0" indent="22860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"/>
                </a:defRPr>
              </a:lvl2pPr>
              <a:lvl3pPr marL="0" marR="0" indent="45720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"/>
                </a:defRPr>
              </a:lvl3pPr>
              <a:lvl4pPr marL="0" marR="0" indent="68580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"/>
                </a:defRPr>
              </a:lvl4pPr>
              <a:lvl5pPr marL="0" marR="0" indent="91440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"/>
                </a:defRPr>
              </a:lvl5pPr>
              <a:lvl6pPr marL="0" marR="0" indent="114300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"/>
                </a:defRPr>
              </a:lvl6pPr>
              <a:lvl7pPr marL="0" marR="0" indent="137160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"/>
                </a:defRPr>
              </a:lvl7pPr>
              <a:lvl8pPr marL="0" marR="0" indent="160020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"/>
                </a:defRPr>
              </a:lvl8pPr>
              <a:lvl9pPr marL="0" marR="0" indent="182880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"/>
                </a:defRPr>
              </a:lvl9pPr>
            </a:lstStyle>
            <a:p>
              <a:pPr marL="0" marR="0" lvl="0" indent="0" algn="l" defTabSz="914400" rtl="0" eaLnBrk="1" fontAlgn="auto" latinLnBrk="0" hangingPunct="0">
                <a:lnSpc>
                  <a:spcPct val="8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>
                  <a:ln>
                    <a:noFill/>
                  </a:ln>
                  <a:solidFill>
                    <a:srgbClr val="8BBB28"/>
                  </a:solidFill>
                  <a:effectLst/>
                  <a:uLnTx/>
                  <a:uFillTx/>
                  <a:latin typeface="GT Pressura LCG Black" pitchFamily="2" charset="0"/>
                  <a:ea typeface="+mn-ea"/>
                  <a:cs typeface="GT Pressura LCG Black" pitchFamily="2" charset="0"/>
                  <a:sym typeface="Helvetica Neue"/>
                </a:rPr>
                <a:t>SHANNA PARRA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  <a:sym typeface="Helvetica Neue"/>
                </a:rPr>
                <a:t>Director 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  <a:sym typeface="Helvetica Neue"/>
                </a:rPr>
                <a:t>Commercial Sustainabili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  <a:sym typeface="Helvetica Neue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hanna.parra@pepsico.com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Gilroy Medium"/>
                <a:ea typeface="+mn-ea"/>
                <a:cs typeface="+mn-cs"/>
                <a:sym typeface="Helvetica Neue"/>
              </a:endParaRPr>
            </a:p>
          </p:txBody>
        </p:sp>
      </p:grpSp>
      <p:sp>
        <p:nvSpPr>
          <p:cNvPr id="9" name="TextBox 3">
            <a:extLst>
              <a:ext uri="{FF2B5EF4-FFF2-40B4-BE49-F238E27FC236}">
                <a16:creationId xmlns:a16="http://schemas.microsoft.com/office/drawing/2014/main" id="{1154BDBD-FEFA-CFB4-CFF1-D96A6225D852}"/>
              </a:ext>
            </a:extLst>
          </p:cNvPr>
          <p:cNvSpPr txBox="1"/>
          <p:nvPr/>
        </p:nvSpPr>
        <p:spPr>
          <a:xfrm>
            <a:off x="8834183" y="4569601"/>
            <a:ext cx="2825509" cy="1580946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2286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4572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6858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9144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11430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13716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16002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18288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0" marR="0" lvl="0" indent="0" algn="l" defTabSz="914400" rtl="0" eaLnBrk="1" fontAlgn="auto" latinLnBrk="0" hangingPunct="0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8BBB28"/>
                </a:solidFill>
                <a:effectLst/>
                <a:uLnTx/>
                <a:uFillTx/>
                <a:latin typeface="GT Pressura LCG Black" pitchFamily="2" charset="0"/>
                <a:ea typeface="+mn-ea"/>
                <a:cs typeface="GT Pressura LCG Black" pitchFamily="2" charset="0"/>
                <a:sym typeface="Helvetica Neue"/>
              </a:rPr>
              <a:t>NICOLE POPOWSKI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 Medium"/>
                <a:ea typeface="+mn-ea"/>
                <a:cs typeface="+mn-cs"/>
                <a:sym typeface="Helvetica Neue"/>
              </a:rPr>
              <a:t>Associate Manager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 Medium"/>
                <a:ea typeface="+mn-ea"/>
                <a:cs typeface="+mn-cs"/>
                <a:sym typeface="Helvetica Neue"/>
              </a:rPr>
              <a:t>Commercial Sustainability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 Medium"/>
                <a:ea typeface="+mn-ea"/>
                <a:cs typeface="+mn-cs"/>
                <a:sym typeface="Helvetica Neue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Gilroy Medium"/>
                <a:ea typeface="+mn-ea"/>
                <a:cs typeface="+mn-cs"/>
                <a:sym typeface="Helvetica Neue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icole.Popowski@pepsico.com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Gilroy Medium"/>
              <a:ea typeface="+mn-ea"/>
              <a:cs typeface="+mn-cs"/>
              <a:sym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Gilroy Medium"/>
              <a:ea typeface="+mn-ea"/>
              <a:cs typeface="+mn-cs"/>
              <a:sym typeface="Helvetica Neue"/>
            </a:endParaRPr>
          </a:p>
        </p:txBody>
      </p:sp>
      <p:sp>
        <p:nvSpPr>
          <p:cNvPr id="10" name="Graphic 15">
            <a:extLst>
              <a:ext uri="{FF2B5EF4-FFF2-40B4-BE49-F238E27FC236}">
                <a16:creationId xmlns:a16="http://schemas.microsoft.com/office/drawing/2014/main" id="{4D127978-39E4-F616-5681-F8344F72F0BE}"/>
              </a:ext>
            </a:extLst>
          </p:cNvPr>
          <p:cNvSpPr/>
          <p:nvPr/>
        </p:nvSpPr>
        <p:spPr>
          <a:xfrm>
            <a:off x="8246728" y="4080557"/>
            <a:ext cx="477938" cy="477938"/>
          </a:xfrm>
          <a:custGeom>
            <a:avLst/>
            <a:gdLst>
              <a:gd name="connsiteX0" fmla="*/ 1147763 w 1905000"/>
              <a:gd name="connsiteY0" fmla="*/ 0 h 1905000"/>
              <a:gd name="connsiteX1" fmla="*/ 1200150 w 1905000"/>
              <a:gd name="connsiteY1" fmla="*/ 52388 h 1905000"/>
              <a:gd name="connsiteX2" fmla="*/ 1200150 w 1905000"/>
              <a:gd name="connsiteY2" fmla="*/ 681038 h 1905000"/>
              <a:gd name="connsiteX3" fmla="*/ 1223963 w 1905000"/>
              <a:gd name="connsiteY3" fmla="*/ 704850 h 1905000"/>
              <a:gd name="connsiteX4" fmla="*/ 1852613 w 1905000"/>
              <a:gd name="connsiteY4" fmla="*/ 704850 h 1905000"/>
              <a:gd name="connsiteX5" fmla="*/ 1905000 w 1905000"/>
              <a:gd name="connsiteY5" fmla="*/ 757238 h 1905000"/>
              <a:gd name="connsiteX6" fmla="*/ 1905000 w 1905000"/>
              <a:gd name="connsiteY6" fmla="*/ 1147763 h 1905000"/>
              <a:gd name="connsiteX7" fmla="*/ 1852613 w 1905000"/>
              <a:gd name="connsiteY7" fmla="*/ 1200150 h 1905000"/>
              <a:gd name="connsiteX8" fmla="*/ 1223963 w 1905000"/>
              <a:gd name="connsiteY8" fmla="*/ 1200150 h 1905000"/>
              <a:gd name="connsiteX9" fmla="*/ 1200150 w 1905000"/>
              <a:gd name="connsiteY9" fmla="*/ 1223963 h 1905000"/>
              <a:gd name="connsiteX10" fmla="*/ 1200150 w 1905000"/>
              <a:gd name="connsiteY10" fmla="*/ 1852613 h 1905000"/>
              <a:gd name="connsiteX11" fmla="*/ 1147763 w 1905000"/>
              <a:gd name="connsiteY11" fmla="*/ 1905000 h 1905000"/>
              <a:gd name="connsiteX12" fmla="*/ 757238 w 1905000"/>
              <a:gd name="connsiteY12" fmla="*/ 1905000 h 1905000"/>
              <a:gd name="connsiteX13" fmla="*/ 704850 w 1905000"/>
              <a:gd name="connsiteY13" fmla="*/ 1852613 h 1905000"/>
              <a:gd name="connsiteX14" fmla="*/ 704850 w 1905000"/>
              <a:gd name="connsiteY14" fmla="*/ 1223963 h 1905000"/>
              <a:gd name="connsiteX15" fmla="*/ 681038 w 1905000"/>
              <a:gd name="connsiteY15" fmla="*/ 1200150 h 1905000"/>
              <a:gd name="connsiteX16" fmla="*/ 52388 w 1905000"/>
              <a:gd name="connsiteY16" fmla="*/ 1200150 h 1905000"/>
              <a:gd name="connsiteX17" fmla="*/ 0 w 1905000"/>
              <a:gd name="connsiteY17" fmla="*/ 1147763 h 1905000"/>
              <a:gd name="connsiteX18" fmla="*/ 0 w 1905000"/>
              <a:gd name="connsiteY18" fmla="*/ 757238 h 1905000"/>
              <a:gd name="connsiteX19" fmla="*/ 52388 w 1905000"/>
              <a:gd name="connsiteY19" fmla="*/ 704850 h 1905000"/>
              <a:gd name="connsiteX20" fmla="*/ 681038 w 1905000"/>
              <a:gd name="connsiteY20" fmla="*/ 704850 h 1905000"/>
              <a:gd name="connsiteX21" fmla="*/ 704850 w 1905000"/>
              <a:gd name="connsiteY21" fmla="*/ 681038 h 1905000"/>
              <a:gd name="connsiteX22" fmla="*/ 704850 w 1905000"/>
              <a:gd name="connsiteY22" fmla="*/ 52388 h 1905000"/>
              <a:gd name="connsiteX23" fmla="*/ 757238 w 1905000"/>
              <a:gd name="connsiteY23" fmla="*/ 0 h 1905000"/>
              <a:gd name="connsiteX24" fmla="*/ 1147763 w 1905000"/>
              <a:gd name="connsiteY24" fmla="*/ 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905000" h="1905000">
                <a:moveTo>
                  <a:pt x="1147763" y="0"/>
                </a:moveTo>
                <a:cubicBezTo>
                  <a:pt x="1176719" y="0"/>
                  <a:pt x="1200150" y="23432"/>
                  <a:pt x="1200150" y="52388"/>
                </a:cubicBezTo>
                <a:lnTo>
                  <a:pt x="1200150" y="681038"/>
                </a:lnTo>
                <a:cubicBezTo>
                  <a:pt x="1200150" y="694182"/>
                  <a:pt x="1210818" y="704850"/>
                  <a:pt x="1223963" y="704850"/>
                </a:cubicBezTo>
                <a:lnTo>
                  <a:pt x="1852613" y="704850"/>
                </a:lnTo>
                <a:cubicBezTo>
                  <a:pt x="1881568" y="704850"/>
                  <a:pt x="1905000" y="728282"/>
                  <a:pt x="1905000" y="757238"/>
                </a:cubicBezTo>
                <a:lnTo>
                  <a:pt x="1905000" y="1147763"/>
                </a:lnTo>
                <a:cubicBezTo>
                  <a:pt x="1905000" y="1176719"/>
                  <a:pt x="1881568" y="1200150"/>
                  <a:pt x="1852613" y="1200150"/>
                </a:cubicBezTo>
                <a:lnTo>
                  <a:pt x="1223963" y="1200150"/>
                </a:lnTo>
                <a:cubicBezTo>
                  <a:pt x="1210818" y="1200150"/>
                  <a:pt x="1200150" y="1210818"/>
                  <a:pt x="1200150" y="1223963"/>
                </a:cubicBezTo>
                <a:lnTo>
                  <a:pt x="1200150" y="1852613"/>
                </a:lnTo>
                <a:cubicBezTo>
                  <a:pt x="1200150" y="1881568"/>
                  <a:pt x="1176719" y="1905000"/>
                  <a:pt x="1147763" y="1905000"/>
                </a:cubicBezTo>
                <a:lnTo>
                  <a:pt x="757238" y="1905000"/>
                </a:lnTo>
                <a:cubicBezTo>
                  <a:pt x="728282" y="1905000"/>
                  <a:pt x="704850" y="1881568"/>
                  <a:pt x="704850" y="1852613"/>
                </a:cubicBezTo>
                <a:lnTo>
                  <a:pt x="704850" y="1223963"/>
                </a:lnTo>
                <a:cubicBezTo>
                  <a:pt x="704850" y="1210818"/>
                  <a:pt x="694182" y="1200150"/>
                  <a:pt x="681038" y="1200150"/>
                </a:cubicBezTo>
                <a:lnTo>
                  <a:pt x="52388" y="1200150"/>
                </a:lnTo>
                <a:cubicBezTo>
                  <a:pt x="23432" y="1200150"/>
                  <a:pt x="0" y="1176719"/>
                  <a:pt x="0" y="1147763"/>
                </a:cubicBezTo>
                <a:lnTo>
                  <a:pt x="0" y="757238"/>
                </a:lnTo>
                <a:cubicBezTo>
                  <a:pt x="0" y="728282"/>
                  <a:pt x="23432" y="704850"/>
                  <a:pt x="52388" y="704850"/>
                </a:cubicBezTo>
                <a:lnTo>
                  <a:pt x="681038" y="704850"/>
                </a:lnTo>
                <a:cubicBezTo>
                  <a:pt x="694182" y="704850"/>
                  <a:pt x="704850" y="694182"/>
                  <a:pt x="704850" y="681038"/>
                </a:cubicBezTo>
                <a:lnTo>
                  <a:pt x="704850" y="52388"/>
                </a:lnTo>
                <a:cubicBezTo>
                  <a:pt x="704850" y="23432"/>
                  <a:pt x="728282" y="0"/>
                  <a:pt x="757238" y="0"/>
                </a:cubicBezTo>
                <a:lnTo>
                  <a:pt x="1147763" y="0"/>
                </a:lnTo>
                <a:close/>
              </a:path>
            </a:pathLst>
          </a:custGeom>
          <a:solidFill>
            <a:srgbClr val="8BBB28"/>
          </a:solidFill>
          <a:ln w="9525" cap="flat">
            <a:noFill/>
            <a:prstDash val="solid"/>
            <a:miter/>
          </a:ln>
        </p:spPr>
        <p:txBody>
          <a:bodyPr rtlCol="0" anchor="ctr"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2286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4572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6858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9144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11430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13716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16002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18288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roy Medium"/>
              <a:ea typeface="+mn-ea"/>
              <a:cs typeface="+mn-cs"/>
              <a:sym typeface="Helvetica Neue"/>
            </a:endParaRPr>
          </a:p>
        </p:txBody>
      </p:sp>
      <p:sp>
        <p:nvSpPr>
          <p:cNvPr id="4096" name="Graphic 15">
            <a:extLst>
              <a:ext uri="{FF2B5EF4-FFF2-40B4-BE49-F238E27FC236}">
                <a16:creationId xmlns:a16="http://schemas.microsoft.com/office/drawing/2014/main" id="{A23B21DC-43DC-8635-C55E-CB6526D89F61}"/>
              </a:ext>
            </a:extLst>
          </p:cNvPr>
          <p:cNvSpPr/>
          <p:nvPr/>
        </p:nvSpPr>
        <p:spPr>
          <a:xfrm>
            <a:off x="4338368" y="4091663"/>
            <a:ext cx="477938" cy="477938"/>
          </a:xfrm>
          <a:custGeom>
            <a:avLst/>
            <a:gdLst>
              <a:gd name="connsiteX0" fmla="*/ 1147763 w 1905000"/>
              <a:gd name="connsiteY0" fmla="*/ 0 h 1905000"/>
              <a:gd name="connsiteX1" fmla="*/ 1200150 w 1905000"/>
              <a:gd name="connsiteY1" fmla="*/ 52388 h 1905000"/>
              <a:gd name="connsiteX2" fmla="*/ 1200150 w 1905000"/>
              <a:gd name="connsiteY2" fmla="*/ 681038 h 1905000"/>
              <a:gd name="connsiteX3" fmla="*/ 1223963 w 1905000"/>
              <a:gd name="connsiteY3" fmla="*/ 704850 h 1905000"/>
              <a:gd name="connsiteX4" fmla="*/ 1852613 w 1905000"/>
              <a:gd name="connsiteY4" fmla="*/ 704850 h 1905000"/>
              <a:gd name="connsiteX5" fmla="*/ 1905000 w 1905000"/>
              <a:gd name="connsiteY5" fmla="*/ 757238 h 1905000"/>
              <a:gd name="connsiteX6" fmla="*/ 1905000 w 1905000"/>
              <a:gd name="connsiteY6" fmla="*/ 1147763 h 1905000"/>
              <a:gd name="connsiteX7" fmla="*/ 1852613 w 1905000"/>
              <a:gd name="connsiteY7" fmla="*/ 1200150 h 1905000"/>
              <a:gd name="connsiteX8" fmla="*/ 1223963 w 1905000"/>
              <a:gd name="connsiteY8" fmla="*/ 1200150 h 1905000"/>
              <a:gd name="connsiteX9" fmla="*/ 1200150 w 1905000"/>
              <a:gd name="connsiteY9" fmla="*/ 1223963 h 1905000"/>
              <a:gd name="connsiteX10" fmla="*/ 1200150 w 1905000"/>
              <a:gd name="connsiteY10" fmla="*/ 1852613 h 1905000"/>
              <a:gd name="connsiteX11" fmla="*/ 1147763 w 1905000"/>
              <a:gd name="connsiteY11" fmla="*/ 1905000 h 1905000"/>
              <a:gd name="connsiteX12" fmla="*/ 757238 w 1905000"/>
              <a:gd name="connsiteY12" fmla="*/ 1905000 h 1905000"/>
              <a:gd name="connsiteX13" fmla="*/ 704850 w 1905000"/>
              <a:gd name="connsiteY13" fmla="*/ 1852613 h 1905000"/>
              <a:gd name="connsiteX14" fmla="*/ 704850 w 1905000"/>
              <a:gd name="connsiteY14" fmla="*/ 1223963 h 1905000"/>
              <a:gd name="connsiteX15" fmla="*/ 681038 w 1905000"/>
              <a:gd name="connsiteY15" fmla="*/ 1200150 h 1905000"/>
              <a:gd name="connsiteX16" fmla="*/ 52388 w 1905000"/>
              <a:gd name="connsiteY16" fmla="*/ 1200150 h 1905000"/>
              <a:gd name="connsiteX17" fmla="*/ 0 w 1905000"/>
              <a:gd name="connsiteY17" fmla="*/ 1147763 h 1905000"/>
              <a:gd name="connsiteX18" fmla="*/ 0 w 1905000"/>
              <a:gd name="connsiteY18" fmla="*/ 757238 h 1905000"/>
              <a:gd name="connsiteX19" fmla="*/ 52388 w 1905000"/>
              <a:gd name="connsiteY19" fmla="*/ 704850 h 1905000"/>
              <a:gd name="connsiteX20" fmla="*/ 681038 w 1905000"/>
              <a:gd name="connsiteY20" fmla="*/ 704850 h 1905000"/>
              <a:gd name="connsiteX21" fmla="*/ 704850 w 1905000"/>
              <a:gd name="connsiteY21" fmla="*/ 681038 h 1905000"/>
              <a:gd name="connsiteX22" fmla="*/ 704850 w 1905000"/>
              <a:gd name="connsiteY22" fmla="*/ 52388 h 1905000"/>
              <a:gd name="connsiteX23" fmla="*/ 757238 w 1905000"/>
              <a:gd name="connsiteY23" fmla="*/ 0 h 1905000"/>
              <a:gd name="connsiteX24" fmla="*/ 1147763 w 1905000"/>
              <a:gd name="connsiteY24" fmla="*/ 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905000" h="1905000">
                <a:moveTo>
                  <a:pt x="1147763" y="0"/>
                </a:moveTo>
                <a:cubicBezTo>
                  <a:pt x="1176719" y="0"/>
                  <a:pt x="1200150" y="23432"/>
                  <a:pt x="1200150" y="52388"/>
                </a:cubicBezTo>
                <a:lnTo>
                  <a:pt x="1200150" y="681038"/>
                </a:lnTo>
                <a:cubicBezTo>
                  <a:pt x="1200150" y="694182"/>
                  <a:pt x="1210818" y="704850"/>
                  <a:pt x="1223963" y="704850"/>
                </a:cubicBezTo>
                <a:lnTo>
                  <a:pt x="1852613" y="704850"/>
                </a:lnTo>
                <a:cubicBezTo>
                  <a:pt x="1881568" y="704850"/>
                  <a:pt x="1905000" y="728282"/>
                  <a:pt x="1905000" y="757238"/>
                </a:cubicBezTo>
                <a:lnTo>
                  <a:pt x="1905000" y="1147763"/>
                </a:lnTo>
                <a:cubicBezTo>
                  <a:pt x="1905000" y="1176719"/>
                  <a:pt x="1881568" y="1200150"/>
                  <a:pt x="1852613" y="1200150"/>
                </a:cubicBezTo>
                <a:lnTo>
                  <a:pt x="1223963" y="1200150"/>
                </a:lnTo>
                <a:cubicBezTo>
                  <a:pt x="1210818" y="1200150"/>
                  <a:pt x="1200150" y="1210818"/>
                  <a:pt x="1200150" y="1223963"/>
                </a:cubicBezTo>
                <a:lnTo>
                  <a:pt x="1200150" y="1852613"/>
                </a:lnTo>
                <a:cubicBezTo>
                  <a:pt x="1200150" y="1881568"/>
                  <a:pt x="1176719" y="1905000"/>
                  <a:pt x="1147763" y="1905000"/>
                </a:cubicBezTo>
                <a:lnTo>
                  <a:pt x="757238" y="1905000"/>
                </a:lnTo>
                <a:cubicBezTo>
                  <a:pt x="728282" y="1905000"/>
                  <a:pt x="704850" y="1881568"/>
                  <a:pt x="704850" y="1852613"/>
                </a:cubicBezTo>
                <a:lnTo>
                  <a:pt x="704850" y="1223963"/>
                </a:lnTo>
                <a:cubicBezTo>
                  <a:pt x="704850" y="1210818"/>
                  <a:pt x="694182" y="1200150"/>
                  <a:pt x="681038" y="1200150"/>
                </a:cubicBezTo>
                <a:lnTo>
                  <a:pt x="52388" y="1200150"/>
                </a:lnTo>
                <a:cubicBezTo>
                  <a:pt x="23432" y="1200150"/>
                  <a:pt x="0" y="1176719"/>
                  <a:pt x="0" y="1147763"/>
                </a:cubicBezTo>
                <a:lnTo>
                  <a:pt x="0" y="757238"/>
                </a:lnTo>
                <a:cubicBezTo>
                  <a:pt x="0" y="728282"/>
                  <a:pt x="23432" y="704850"/>
                  <a:pt x="52388" y="704850"/>
                </a:cubicBezTo>
                <a:lnTo>
                  <a:pt x="681038" y="704850"/>
                </a:lnTo>
                <a:cubicBezTo>
                  <a:pt x="694182" y="704850"/>
                  <a:pt x="704850" y="694182"/>
                  <a:pt x="704850" y="681038"/>
                </a:cubicBezTo>
                <a:lnTo>
                  <a:pt x="704850" y="52388"/>
                </a:lnTo>
                <a:cubicBezTo>
                  <a:pt x="704850" y="23432"/>
                  <a:pt x="728282" y="0"/>
                  <a:pt x="757238" y="0"/>
                </a:cubicBezTo>
                <a:lnTo>
                  <a:pt x="1147763" y="0"/>
                </a:lnTo>
                <a:close/>
              </a:path>
            </a:pathLst>
          </a:custGeom>
          <a:solidFill>
            <a:srgbClr val="8BBB28"/>
          </a:solidFill>
          <a:ln w="9525" cap="flat">
            <a:noFill/>
            <a:prstDash val="solid"/>
            <a:miter/>
          </a:ln>
        </p:spPr>
        <p:txBody>
          <a:bodyPr rtlCol="0" anchor="ctr"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2286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4572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6858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9144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11430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13716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16002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182880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roy Medium"/>
              <a:ea typeface="+mn-ea"/>
              <a:cs typeface="+mn-cs"/>
              <a:sym typeface="Helvetica Neue"/>
            </a:endParaRPr>
          </a:p>
        </p:txBody>
      </p:sp>
      <p:sp>
        <p:nvSpPr>
          <p:cNvPr id="4099" name="TextBox 4098">
            <a:extLst>
              <a:ext uri="{FF2B5EF4-FFF2-40B4-BE49-F238E27FC236}">
                <a16:creationId xmlns:a16="http://schemas.microsoft.com/office/drawing/2014/main" id="{9AF3F98F-12C5-866A-83A0-AA2E4F8DFE6E}"/>
              </a:ext>
            </a:extLst>
          </p:cNvPr>
          <p:cNvSpPr txBox="1"/>
          <p:nvPr/>
        </p:nvSpPr>
        <p:spPr>
          <a:xfrm>
            <a:off x="4800807" y="4546626"/>
            <a:ext cx="2825509" cy="8802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8BBB28"/>
                </a:solidFill>
                <a:effectLst/>
                <a:uLnTx/>
                <a:uFillTx/>
                <a:latin typeface="GT Pressura LCG Black" pitchFamily="2" charset="0"/>
                <a:ea typeface="+mn-ea"/>
                <a:cs typeface="GT Pressura LCG Black" pitchFamily="2" charset="0"/>
              </a:rPr>
              <a:t>CATHERINE WALTON</a:t>
            </a:r>
          </a:p>
        </p:txBody>
      </p:sp>
    </p:spTree>
    <p:extLst>
      <p:ext uri="{BB962C8B-B14F-4D97-AF65-F5344CB8AC3E}">
        <p14:creationId xmlns:p14="http://schemas.microsoft.com/office/powerpoint/2010/main" val="10455983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epsico Presentation">
      <a:dk1>
        <a:sysClr val="windowText" lastClr="000000"/>
      </a:dk1>
      <a:lt1>
        <a:sysClr val="window" lastClr="FFFFFF"/>
      </a:lt1>
      <a:dk2>
        <a:srgbClr val="023459"/>
      </a:dk2>
      <a:lt2>
        <a:srgbClr val="CFCFCF"/>
      </a:lt2>
      <a:accent1>
        <a:srgbClr val="155798"/>
      </a:accent1>
      <a:accent2>
        <a:srgbClr val="A5CBEE"/>
      </a:accent2>
      <a:accent3>
        <a:srgbClr val="2B660F"/>
      </a:accent3>
      <a:accent4>
        <a:srgbClr val="BFDE7D"/>
      </a:accent4>
      <a:accent5>
        <a:srgbClr val="954F07"/>
      </a:accent5>
      <a:accent6>
        <a:srgbClr val="EC9F0B"/>
      </a:accent6>
      <a:hlink>
        <a:srgbClr val="FBCB5B"/>
      </a:hlink>
      <a:folHlink>
        <a:srgbClr val="FFE9AD"/>
      </a:folHlink>
    </a:clrScheme>
    <a:fontScheme name="PepsiCo2">
      <a:majorFont>
        <a:latin typeface="GT Pressura LCG Black"/>
        <a:ea typeface=""/>
        <a:cs typeface=""/>
      </a:majorFont>
      <a:minorFont>
        <a:latin typeface="Gilroy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PSICO_PPT_UNIVERSAL_TEMPLATE V4.pptx" id="{FB829CE1-58FF-497D-B9E8-B1B9EA72BBC1}" vid="{BD963ADC-7AB3-48D9-93F4-E5E2C1247D9D}"/>
    </a:ext>
  </a:extLst>
</a:theme>
</file>

<file path=ppt/theme/theme2.xml><?xml version="1.0" encoding="utf-8"?>
<a:theme xmlns:a="http://schemas.openxmlformats.org/drawingml/2006/main" name="1_Office Theme">
  <a:themeElements>
    <a:clrScheme name="Pepsico Presentation">
      <a:dk1>
        <a:sysClr val="windowText" lastClr="000000"/>
      </a:dk1>
      <a:lt1>
        <a:sysClr val="window" lastClr="FFFFFF"/>
      </a:lt1>
      <a:dk2>
        <a:srgbClr val="023459"/>
      </a:dk2>
      <a:lt2>
        <a:srgbClr val="CFCFCF"/>
      </a:lt2>
      <a:accent1>
        <a:srgbClr val="155798"/>
      </a:accent1>
      <a:accent2>
        <a:srgbClr val="A5CBEE"/>
      </a:accent2>
      <a:accent3>
        <a:srgbClr val="2B660F"/>
      </a:accent3>
      <a:accent4>
        <a:srgbClr val="BFDE7D"/>
      </a:accent4>
      <a:accent5>
        <a:srgbClr val="954F07"/>
      </a:accent5>
      <a:accent6>
        <a:srgbClr val="EC9F0B"/>
      </a:accent6>
      <a:hlink>
        <a:srgbClr val="FBCB5B"/>
      </a:hlink>
      <a:folHlink>
        <a:srgbClr val="FFE9AD"/>
      </a:folHlink>
    </a:clrScheme>
    <a:fontScheme name="PepsiCo2">
      <a:majorFont>
        <a:latin typeface="GT Pressura LCG Black"/>
        <a:ea typeface=""/>
        <a:cs typeface=""/>
      </a:majorFont>
      <a:minorFont>
        <a:latin typeface="Gilroy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PSICO_PPT_UNIVERSAL_TEMPLATE V4.pptx" id="{FB829CE1-58FF-497D-B9E8-B1B9EA72BBC1}" vid="{BD963ADC-7AB3-48D9-93F4-E5E2C1247D9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161366E4F15C84B88D51EE8B82FAF3A" ma:contentTypeVersion="8" ma:contentTypeDescription="Create a new document." ma:contentTypeScope="" ma:versionID="d8cb57e74b09bcdd78e07051bec0a5c6">
  <xsd:schema xmlns:xsd="http://www.w3.org/2001/XMLSchema" xmlns:xs="http://www.w3.org/2001/XMLSchema" xmlns:p="http://schemas.microsoft.com/office/2006/metadata/properties" xmlns:ns2="338c5a62-c766-4c1d-9499-6cfda948df69" targetNamespace="http://schemas.microsoft.com/office/2006/metadata/properties" ma:root="true" ma:fieldsID="a2cbb82d2c58359c3be0baba583c7cc1" ns2:_="">
    <xsd:import namespace="338c5a62-c766-4c1d-9499-6cfda948df6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BillingMetadata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8c5a62-c766-4c1d-9499-6cfda948df6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11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9D566CD-6978-4349-BB5D-2887B536A4DF}"/>
</file>

<file path=customXml/itemProps2.xml><?xml version="1.0" encoding="utf-8"?>
<ds:datastoreItem xmlns:ds="http://schemas.openxmlformats.org/officeDocument/2006/customXml" ds:itemID="{7C66A18F-5D2A-4799-9F8F-90793222BC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ADD4A1F-2AFD-42A8-A959-40AF59A2239D}">
  <ds:schemaRefs>
    <ds:schemaRef ds:uri="74ea036f-77cf-42d3-b3bb-e4c6ae8e0486"/>
    <ds:schemaRef ds:uri="7bc58ebf-4862-430f-815c-d1d6d9f54d5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23</TotalTime>
  <Words>61</Words>
  <Application>Microsoft Office PowerPoint</Application>
  <PresentationFormat>Widescreen</PresentationFormat>
  <Paragraphs>1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Gilroy Medium</vt:lpstr>
      <vt:lpstr>Arial</vt:lpstr>
      <vt:lpstr>Arial Narrow</vt:lpstr>
      <vt:lpstr>GT Pressura LCG Black</vt:lpstr>
      <vt:lpstr>Office Theme</vt:lpstr>
      <vt:lpstr>1_Office Theme</vt:lpstr>
      <vt:lpstr>think-cell Slide</vt:lpstr>
      <vt:lpstr>Commercial sustainability contac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tanabe, Ken - Contractor {PEP}</dc:creator>
  <cp:lastModifiedBy>Popowski, Nicole {PEP}</cp:lastModifiedBy>
  <cp:revision>13</cp:revision>
  <dcterms:created xsi:type="dcterms:W3CDTF">2025-10-17T20:50:14Z</dcterms:created>
  <dcterms:modified xsi:type="dcterms:W3CDTF">2026-04-08T20:23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61366E4F15C84B88D51EE8B82FAF3A</vt:lpwstr>
  </property>
  <property fmtid="{D5CDD505-2E9C-101B-9397-08002B2CF9AE}" pid="3" name="_dlc_DocIdItemGuid">
    <vt:lpwstr>94652c8f-abd2-4216-8204-586f60d023cc</vt:lpwstr>
  </property>
  <property fmtid="{D5CDD505-2E9C-101B-9397-08002B2CF9AE}" pid="4" name="Access">
    <vt:lpwstr/>
  </property>
  <property fmtid="{D5CDD505-2E9C-101B-9397-08002B2CF9AE}" pid="5" name="MediaServiceImageTags">
    <vt:lpwstr/>
  </property>
  <property fmtid="{D5CDD505-2E9C-101B-9397-08002B2CF9AE}" pid="6" name="Order">
    <vt:lpwstr>134600.000000000</vt:lpwstr>
  </property>
  <property fmtid="{D5CDD505-2E9C-101B-9397-08002B2CF9AE}" pid="7" name="xd_ProgID">
    <vt:lpwstr/>
  </property>
  <property fmtid="{D5CDD505-2E9C-101B-9397-08002B2CF9AE}" pid="8" name="_SourceUrl">
    <vt:lpwstr/>
  </property>
  <property fmtid="{D5CDD505-2E9C-101B-9397-08002B2CF9AE}" pid="9" name="_SharedFileIndex">
    <vt:lpwstr/>
  </property>
  <property fmtid="{D5CDD505-2E9C-101B-9397-08002B2CF9AE}" pid="10" name="ComplianceAssetId">
    <vt:lpwstr/>
  </property>
  <property fmtid="{D5CDD505-2E9C-101B-9397-08002B2CF9AE}" pid="11" name="TemplateUrl">
    <vt:lpwstr/>
  </property>
  <property fmtid="{D5CDD505-2E9C-101B-9397-08002B2CF9AE}" pid="12" name="_ExtendedDescription">
    <vt:lpwstr/>
  </property>
  <property fmtid="{D5CDD505-2E9C-101B-9397-08002B2CF9AE}" pid="13" name="TriggerFlowInfo">
    <vt:lpwstr/>
  </property>
  <property fmtid="{D5CDD505-2E9C-101B-9397-08002B2CF9AE}" pid="14" name="xd_Signature">
    <vt:lpwstr/>
  </property>
</Properties>
</file>